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670" r:id="rId2"/>
    <p:sldMasterId id="2147483662" r:id="rId3"/>
    <p:sldMasterId id="2147483674" r:id="rId4"/>
    <p:sldMasterId id="2147483665" r:id="rId5"/>
    <p:sldMasterId id="2147483663" r:id="rId6"/>
  </p:sldMasterIdLst>
  <p:notesMasterIdLst>
    <p:notesMasterId r:id="rId15"/>
  </p:notesMasterIdLst>
  <p:sldIdLst>
    <p:sldId id="313" r:id="rId7"/>
    <p:sldId id="311" r:id="rId8"/>
    <p:sldId id="321" r:id="rId9"/>
    <p:sldId id="319" r:id="rId10"/>
    <p:sldId id="320" r:id="rId11"/>
    <p:sldId id="318" r:id="rId12"/>
    <p:sldId id="294" r:id="rId13"/>
    <p:sldId id="314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731" userDrawn="1">
          <p15:clr>
            <a:srgbClr val="A4A3A4"/>
          </p15:clr>
        </p15:guide>
        <p15:guide id="7" orient="horz" pos="1752" userDrawn="1">
          <p15:clr>
            <a:srgbClr val="A4A3A4"/>
          </p15:clr>
        </p15:guide>
        <p15:guide id="25" orient="horz" pos="3407" userDrawn="1">
          <p15:clr>
            <a:srgbClr val="A4A3A4"/>
          </p15:clr>
        </p15:guide>
        <p15:guide id="26" orient="horz" pos="3634" userDrawn="1">
          <p15:clr>
            <a:srgbClr val="A4A3A4"/>
          </p15:clr>
        </p15:guide>
        <p15:guide id="31" orient="horz" pos="2047" userDrawn="1">
          <p15:clr>
            <a:srgbClr val="A4A3A4"/>
          </p15:clr>
        </p15:guide>
        <p15:guide id="3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D36"/>
    <a:srgbClr val="067835"/>
    <a:srgbClr val="616468"/>
    <a:srgbClr val="202321"/>
    <a:srgbClr val="F18700"/>
    <a:srgbClr val="DC0D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375" autoAdjust="0"/>
    <p:restoredTop sz="94698"/>
  </p:normalViewPr>
  <p:slideViewPr>
    <p:cSldViewPr snapToGrid="0" snapToObjects="1" showGuides="1">
      <p:cViewPr varScale="1">
        <p:scale>
          <a:sx n="86" d="100"/>
          <a:sy n="86" d="100"/>
        </p:scale>
        <p:origin x="232" y="736"/>
      </p:cViewPr>
      <p:guideLst>
        <p:guide orient="horz" pos="731"/>
        <p:guide orient="horz" pos="1752"/>
        <p:guide orient="horz" pos="3407"/>
        <p:guide orient="horz" pos="3634"/>
        <p:guide orient="horz" pos="204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C3ABC7-27AC-6D40-86E4-0C355E54A764}" type="datetimeFigureOut">
              <a:rPr lang="de-DE" smtClean="0"/>
              <a:t>01.10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1CAD0D-262D-F145-A422-6EFA995C35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8633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CAD0D-262D-F145-A422-6EFA995C351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206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einzeilig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Presentation- and thesis detail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19EB485-FBBD-4178-04F5-4BE4EB9768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4320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pic>
        <p:nvPicPr>
          <p:cNvPr id="13" name="Bildplatzhalter 24">
            <a:extLst>
              <a:ext uri="{FF2B5EF4-FFF2-40B4-BE49-F238E27FC236}">
                <a16:creationId xmlns:a16="http://schemas.microsoft.com/office/drawing/2014/main" id="{9B225499-2631-B077-1DF3-A5A54B20222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4766" y="1482852"/>
            <a:ext cx="6817200" cy="5373687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5A359CDC-9607-288C-3765-36857DBE8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621666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5ECF272B-70A0-4FAB-D45F-558D5E0907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single-line name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389815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7">
            <a:extLst>
              <a:ext uri="{FF2B5EF4-FFF2-40B4-BE49-F238E27FC236}">
                <a16:creationId xmlns:a16="http://schemas.microsoft.com/office/drawing/2014/main" id="{F03776A9-835E-D818-1978-9F032546DF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C847342F-62FF-5511-0F3F-95717C2CC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Datumsplatzhalter 12">
            <a:extLst>
              <a:ext uri="{FF2B5EF4-FFF2-40B4-BE49-F238E27FC236}">
                <a16:creationId xmlns:a16="http://schemas.microsoft.com/office/drawing/2014/main" id="{F5A81CB5-0BD9-FBE6-93C6-6D2CCA322C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6">
            <a:extLst>
              <a:ext uri="{FF2B5EF4-FFF2-40B4-BE49-F238E27FC236}">
                <a16:creationId xmlns:a16="http://schemas.microsoft.com/office/drawing/2014/main" id="{ADF1EC35-876A-A82D-E2EF-B45DD37BA7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400" y="1369114"/>
            <a:ext cx="11303000" cy="5046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2AFDF19-7A3E-C8DA-70DB-F93C9AD3E3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Slide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3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/>
              <a:t>Headline</a:t>
            </a:r>
            <a:endParaRPr lang="de-DE" dirty="0"/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39029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6059488" y="2139029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39029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0" y="2130504"/>
            <a:ext cx="5472687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30504"/>
            <a:ext cx="5472289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2800" y="2130504"/>
            <a:ext cx="5544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2800" y="5730504"/>
            <a:ext cx="5544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21305"/>
            <a:ext cx="5472689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3376" y="3221304"/>
            <a:ext cx="5545712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Fußzeilenplatzhalter 7">
            <a:extLst>
              <a:ext uri="{FF2B5EF4-FFF2-40B4-BE49-F238E27FC236}">
                <a16:creationId xmlns:a16="http://schemas.microsoft.com/office/drawing/2014/main" id="{0F2576D0-EA58-60C8-F205-4A70F4AE2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8" name="Foliennummernplatzhalter 8">
            <a:extLst>
              <a:ext uri="{FF2B5EF4-FFF2-40B4-BE49-F238E27FC236}">
                <a16:creationId xmlns:a16="http://schemas.microsoft.com/office/drawing/2014/main" id="{3A59D4BA-A327-42C5-8B71-11383D2D45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Datumsplatzhalter 12">
            <a:extLst>
              <a:ext uri="{FF2B5EF4-FFF2-40B4-BE49-F238E27FC236}">
                <a16:creationId xmlns:a16="http://schemas.microsoft.com/office/drawing/2014/main" id="{F1A74206-6D16-C701-D44C-665C76A540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5685CBD3-4F2D-12C5-761B-5652965A08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2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730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 dirty="0"/>
              <a:t>Headline der 3-er Tabelle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02F26FCB-47C3-3442-B372-9DDC76EEF795}"/>
              </a:ext>
            </a:extLst>
          </p:cNvPr>
          <p:cNvCxnSpPr>
            <a:cxnSpLocks/>
          </p:cNvCxnSpPr>
          <p:nvPr userDrawn="1"/>
        </p:nvCxnSpPr>
        <p:spPr>
          <a:xfrm>
            <a:off x="4189297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7932738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0" y="2071512"/>
            <a:ext cx="3601025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671512"/>
            <a:ext cx="36006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7F73B6F0-90C5-DA49-9075-CDAB8C2EB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4400" y="2071512"/>
            <a:ext cx="3601025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17A6857-0BF6-2947-8E2A-BBE01579F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4400" y="5671512"/>
            <a:ext cx="36006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78400" y="2071512"/>
            <a:ext cx="3601025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8400" y="5671512"/>
            <a:ext cx="36006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61375BB2-5623-7F47-AB55-F78719DF2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162313"/>
            <a:ext cx="3601025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789AC6A-0931-5F4D-AFEB-39DD6C9EFF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34400" y="3176712"/>
            <a:ext cx="3601025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64132F05-BC21-374E-A16E-D8B2FE3761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78400" y="3162312"/>
            <a:ext cx="3601025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ußzeilenplatzhalter 7">
            <a:extLst>
              <a:ext uri="{FF2B5EF4-FFF2-40B4-BE49-F238E27FC236}">
                <a16:creationId xmlns:a16="http://schemas.microsoft.com/office/drawing/2014/main" id="{44D66836-D3E7-610A-5731-1FCB28065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7" name="Foliennummernplatzhalter 8">
            <a:extLst>
              <a:ext uri="{FF2B5EF4-FFF2-40B4-BE49-F238E27FC236}">
                <a16:creationId xmlns:a16="http://schemas.microsoft.com/office/drawing/2014/main" id="{3CFECB94-0E87-0F75-F221-2194CD8A4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Datumsplatzhalter 12">
            <a:extLst>
              <a:ext uri="{FF2B5EF4-FFF2-40B4-BE49-F238E27FC236}">
                <a16:creationId xmlns:a16="http://schemas.microsoft.com/office/drawing/2014/main" id="{D5A61C04-13E3-F8AC-8A6E-58F6D4425E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D49DE1F1-CA65-3DC5-AA08-CEAF3B802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3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582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 dirty="0"/>
              <a:t>Headline der 4-er Tabelle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02F26FCB-47C3-3442-B372-9DDC76EEF795}"/>
              </a:ext>
            </a:extLst>
          </p:cNvPr>
          <p:cNvCxnSpPr>
            <a:cxnSpLocks/>
          </p:cNvCxnSpPr>
          <p:nvPr userDrawn="1"/>
        </p:nvCxnSpPr>
        <p:spPr>
          <a:xfrm>
            <a:off x="3251200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6059488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1" y="2140336"/>
            <a:ext cx="26644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40336"/>
            <a:ext cx="2664001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7F73B6F0-90C5-DA49-9075-CDAB8C2EB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3617" y="2140336"/>
            <a:ext cx="2665872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17A6857-0BF6-2947-8E2A-BBE01579F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94017" y="5740336"/>
            <a:ext cx="2665472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2799" y="2140336"/>
            <a:ext cx="2664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2799" y="5740336"/>
            <a:ext cx="2664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134AFCE9-021A-0241-8F90-296EEF130F08}"/>
              </a:ext>
            </a:extLst>
          </p:cNvPr>
          <p:cNvCxnSpPr>
            <a:cxnSpLocks/>
          </p:cNvCxnSpPr>
          <p:nvPr userDrawn="1"/>
        </p:nvCxnSpPr>
        <p:spPr>
          <a:xfrm>
            <a:off x="8867775" y="2157386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588AC32F-9A01-5B4D-B668-BFEA0BA2EC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4400" y="2140336"/>
            <a:ext cx="2664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4CB01418-09FC-AA4F-881D-0E2AC2201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4400" y="5740336"/>
            <a:ext cx="2664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31137"/>
            <a:ext cx="2664401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3ECC9BC-18C9-A04E-AF84-23367AF89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95088" y="3245536"/>
            <a:ext cx="26644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3376" y="3231136"/>
            <a:ext cx="26644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444FF037-E417-A949-9093-637A93BD9D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14400" y="3231136"/>
            <a:ext cx="26644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ußzeilenplatzhalter 7">
            <a:extLst>
              <a:ext uri="{FF2B5EF4-FFF2-40B4-BE49-F238E27FC236}">
                <a16:creationId xmlns:a16="http://schemas.microsoft.com/office/drawing/2014/main" id="{168C9554-26F7-DB6E-3873-5BA162D5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8" name="Foliennummernplatzhalter 8">
            <a:extLst>
              <a:ext uri="{FF2B5EF4-FFF2-40B4-BE49-F238E27FC236}">
                <a16:creationId xmlns:a16="http://schemas.microsoft.com/office/drawing/2014/main" id="{379126BC-5739-69BC-74A2-534E55BFD0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29" name="Datumsplatzhalter 12">
            <a:extLst>
              <a:ext uri="{FF2B5EF4-FFF2-40B4-BE49-F238E27FC236}">
                <a16:creationId xmlns:a16="http://schemas.microsoft.com/office/drawing/2014/main" id="{3FAEDB0F-53D2-F507-3BB0-44E8A375A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AD353E3C-527D-66BA-FD00-DB0162206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4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583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84313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/>
              <a:t>Headline</a:t>
            </a:r>
            <a:endParaRPr lang="de-DE" dirty="0"/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02F26FCB-47C3-3442-B372-9DDC76EEF795}"/>
              </a:ext>
            </a:extLst>
          </p:cNvPr>
          <p:cNvCxnSpPr>
            <a:cxnSpLocks/>
          </p:cNvCxnSpPr>
          <p:nvPr userDrawn="1"/>
        </p:nvCxnSpPr>
        <p:spPr>
          <a:xfrm>
            <a:off x="2703600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4964400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1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7F73B6F0-90C5-DA49-9075-CDAB8C2EB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7600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17A6857-0BF6-2947-8E2A-BBE01579F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76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08400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084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134AFCE9-021A-0241-8F90-296EEF130F08}"/>
              </a:ext>
            </a:extLst>
          </p:cNvPr>
          <p:cNvCxnSpPr>
            <a:cxnSpLocks/>
          </p:cNvCxnSpPr>
          <p:nvPr userDrawn="1"/>
        </p:nvCxnSpPr>
        <p:spPr>
          <a:xfrm>
            <a:off x="7225200" y="2157386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588AC32F-9A01-5B4D-B668-BFEA0BA2EC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9200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4CB01418-09FC-AA4F-881D-0E2AC2201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692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31137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3ECC9BC-18C9-A04E-AF84-23367AF89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47600" y="32455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8400" y="32311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444FF037-E417-A949-9093-637A93BD9D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69200" y="32311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086CDDCB-D297-B645-8B9A-4E6D65504719}"/>
              </a:ext>
            </a:extLst>
          </p:cNvPr>
          <p:cNvCxnSpPr>
            <a:cxnSpLocks/>
          </p:cNvCxnSpPr>
          <p:nvPr userDrawn="1"/>
        </p:nvCxnSpPr>
        <p:spPr>
          <a:xfrm>
            <a:off x="9486000" y="2158336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1">
            <a:extLst>
              <a:ext uri="{FF2B5EF4-FFF2-40B4-BE49-F238E27FC236}">
                <a16:creationId xmlns:a16="http://schemas.microsoft.com/office/drawing/2014/main" id="{92955B64-C6A9-494B-B00E-67DDFB343FD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19574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639A7895-C7BB-CD4D-93D6-08B9BB690C6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30800" y="32311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Textplatzhalter 1">
            <a:extLst>
              <a:ext uri="{FF2B5EF4-FFF2-40B4-BE49-F238E27FC236}">
                <a16:creationId xmlns:a16="http://schemas.microsoft.com/office/drawing/2014/main" id="{64C2E5C1-ED88-3A43-83FA-020A272431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08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13" name="Fußzeilenplatzhalter 7">
            <a:extLst>
              <a:ext uri="{FF2B5EF4-FFF2-40B4-BE49-F238E27FC236}">
                <a16:creationId xmlns:a16="http://schemas.microsoft.com/office/drawing/2014/main" id="{9BDABD5B-0B2F-465D-AE09-82FF756D39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8C3F67D1-51DD-F065-A541-9652F3DBFD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Datumsplatzhalter 12">
            <a:extLst>
              <a:ext uri="{FF2B5EF4-FFF2-40B4-BE49-F238E27FC236}">
                <a16:creationId xmlns:a16="http://schemas.microsoft.com/office/drawing/2014/main" id="{E6ECBE0F-0A7E-3A3C-906E-C0F6226F8B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6F007315-6763-17AB-9E51-F9B6320EA0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5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050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 dirty="0"/>
              <a:t>Headline der Tabelle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2919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2919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20672"/>
            <a:ext cx="4537251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2800" y="5720672"/>
            <a:ext cx="45382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11473"/>
            <a:ext cx="5292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2800" y="3211472"/>
            <a:ext cx="540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4F73C3E3-8C0E-644D-A1D5-4CB9CA34F2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6800" y="2120673"/>
            <a:ext cx="11162288" cy="684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F94CEE75-F88F-D216-7378-6C7548FFD0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1EFD1B64-9B28-216C-666A-C0CB89007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Datumsplatzhalter 12">
            <a:extLst>
              <a:ext uri="{FF2B5EF4-FFF2-40B4-BE49-F238E27FC236}">
                <a16:creationId xmlns:a16="http://schemas.microsoft.com/office/drawing/2014/main" id="{D4ECFEA8-E652-A9F1-228F-43BF848B3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F3DFEA14-6D4A-3C30-D7B2-0BC2EF3FD0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552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F2973FF0-2276-5A4B-B95B-42413B8B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6400" y="6426773"/>
            <a:ext cx="7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algn="l"/>
            <a:fld id="{3889EAAA-2A39-E347-B0AA-909793490C00}" type="slidenum">
              <a:rPr lang="de-DE" smtClean="0"/>
              <a:pPr algn="l"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14469F-1423-5242-845C-EBB7925DA5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495071"/>
            <a:ext cx="10080000" cy="9280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280"/>
              </a:lnSpc>
              <a:spcBef>
                <a:spcPts val="0"/>
              </a:spcBef>
              <a:buFontTx/>
              <a:buNone/>
              <a:defRPr lang="de-DE" sz="190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e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?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ncipie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ccaep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lenduci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upt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acepelit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upt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o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lanien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ionsec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empellabo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gn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olorer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evoluptatur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r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u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d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ob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ps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b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cculliqu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di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ec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es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ss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lpar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peliqu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pie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od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 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281397D-9AF9-B945-A645-73E7EF26E5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2" y="2644143"/>
            <a:ext cx="10080000" cy="2843783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 lang="de-DE" sz="190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Offic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d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omn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ss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nc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ot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r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me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lisc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land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as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un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apicipic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ab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non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ullor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o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uptass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aniscita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qu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d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mpo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i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i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pt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tur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rib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equi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ra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acersp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dissuntot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et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di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r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r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e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resc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ac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dist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liqu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od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ccaec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ossu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ps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a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up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DE70BBD-4034-D644-9FBA-6F7E5CAEF2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441325"/>
            <a:ext cx="11306175" cy="10429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640"/>
              </a:lnSpc>
              <a:spcBef>
                <a:spcPts val="0"/>
              </a:spcBef>
              <a:buFontTx/>
              <a:buNone/>
              <a:defRPr sz="2200" b="1" i="0" baseline="0">
                <a:latin typeface="Arial" panose="020B060402020202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Seitentitel mit einer Zeile oder</a:t>
            </a:r>
            <a:br>
              <a:rPr lang="de-DE" dirty="0"/>
            </a:br>
            <a:r>
              <a:rPr lang="de-DE" dirty="0"/>
              <a:t>maximal zwei Zeilen</a:t>
            </a:r>
          </a:p>
        </p:txBody>
      </p:sp>
    </p:spTree>
    <p:extLst>
      <p:ext uri="{BB962C8B-B14F-4D97-AF65-F5344CB8AC3E}">
        <p14:creationId xmlns:p14="http://schemas.microsoft.com/office/powerpoint/2010/main" val="2698513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F2973FF0-2276-5A4B-B95B-42413B8B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6400" y="6426773"/>
            <a:ext cx="7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algn="l"/>
            <a:fld id="{3889EAAA-2A39-E347-B0AA-909793490C00}" type="slidenum">
              <a:rPr lang="de-DE" smtClean="0"/>
              <a:pPr algn="l"/>
              <a:t>‹#›</a:t>
            </a:fld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DE70BBD-4034-D644-9FBA-6F7E5CAEF2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441325"/>
            <a:ext cx="11306175" cy="10429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640"/>
              </a:lnSpc>
              <a:spcBef>
                <a:spcPts val="0"/>
              </a:spcBef>
              <a:buFontTx/>
              <a:buNone/>
              <a:defRPr sz="2200" b="1" i="0" baseline="0">
                <a:latin typeface="Arial" panose="020B060402020202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Farbübersicht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F3871DC-3AE6-0046-9798-2B74B19887B1}"/>
              </a:ext>
            </a:extLst>
          </p:cNvPr>
          <p:cNvSpPr/>
          <p:nvPr userDrawn="1"/>
        </p:nvSpPr>
        <p:spPr>
          <a:xfrm>
            <a:off x="442800" y="1484313"/>
            <a:ext cx="832193" cy="685829"/>
          </a:xfrm>
          <a:prstGeom prst="rect">
            <a:avLst/>
          </a:prstGeom>
          <a:solidFill>
            <a:schemeClr val="tx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36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58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23A9624-D6DE-C345-9C75-F17A8B2EFEFC}"/>
              </a:ext>
            </a:extLst>
          </p:cNvPr>
          <p:cNvSpPr/>
          <p:nvPr userDrawn="1"/>
        </p:nvSpPr>
        <p:spPr>
          <a:xfrm>
            <a:off x="2820756" y="1484313"/>
            <a:ext cx="832193" cy="68582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R 25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G 25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B 255</a:t>
            </a:r>
            <a:endParaRPr lang="de-DE" sz="915" baseline="0" dirty="0">
              <a:solidFill>
                <a:schemeClr val="tx2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7699AD87-10CD-5C43-A6B2-3E71A6C1E6A5}"/>
              </a:ext>
            </a:extLst>
          </p:cNvPr>
          <p:cNvSpPr/>
          <p:nvPr userDrawn="1"/>
        </p:nvSpPr>
        <p:spPr>
          <a:xfrm>
            <a:off x="1631778" y="1484313"/>
            <a:ext cx="832193" cy="685829"/>
          </a:xfrm>
          <a:prstGeom prst="rect">
            <a:avLst/>
          </a:prstGeom>
          <a:solidFill>
            <a:schemeClr val="tx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3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3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3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E6E40C0-B5CF-3040-971F-4D8BB55D0746}"/>
              </a:ext>
            </a:extLst>
          </p:cNvPr>
          <p:cNvSpPr/>
          <p:nvPr userDrawn="1"/>
        </p:nvSpPr>
        <p:spPr>
          <a:xfrm>
            <a:off x="442802" y="2240393"/>
            <a:ext cx="83219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LMU Grün </a:t>
            </a:r>
            <a:b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</a:b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A2A488E-BCE0-BB4B-959A-3AC0A2CF9AFD}"/>
              </a:ext>
            </a:extLst>
          </p:cNvPr>
          <p:cNvSpPr/>
          <p:nvPr userDrawn="1"/>
        </p:nvSpPr>
        <p:spPr>
          <a:xfrm>
            <a:off x="442800" y="3144823"/>
            <a:ext cx="607189" cy="500399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98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0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04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AF76B9D-1CB6-774E-B88E-0CACB598FEF6}"/>
              </a:ext>
            </a:extLst>
          </p:cNvPr>
          <p:cNvSpPr/>
          <p:nvPr userDrawn="1"/>
        </p:nvSpPr>
        <p:spPr>
          <a:xfrm>
            <a:off x="2177818" y="3144823"/>
            <a:ext cx="607189" cy="500399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23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23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231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D45CC143-00CB-E043-9C6B-880F634668A7}"/>
              </a:ext>
            </a:extLst>
          </p:cNvPr>
          <p:cNvSpPr/>
          <p:nvPr userDrawn="1"/>
        </p:nvSpPr>
        <p:spPr>
          <a:xfrm>
            <a:off x="1310310" y="3144823"/>
            <a:ext cx="607189" cy="500399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92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93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9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2788AA0-4D28-CA47-A881-1819C9B7F2B2}"/>
              </a:ext>
            </a:extLst>
          </p:cNvPr>
          <p:cNvSpPr/>
          <p:nvPr userDrawn="1"/>
        </p:nvSpPr>
        <p:spPr>
          <a:xfrm>
            <a:off x="3045759" y="3144823"/>
            <a:ext cx="607189" cy="500399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R 24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G 24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B 245</a:t>
            </a:r>
            <a:endParaRPr lang="de-DE" sz="915" baseline="0" dirty="0">
              <a:solidFill>
                <a:schemeClr val="tx2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20A40CC5-176B-9442-82E4-408CAB2349BC}"/>
              </a:ext>
            </a:extLst>
          </p:cNvPr>
          <p:cNvSpPr/>
          <p:nvPr userDrawn="1"/>
        </p:nvSpPr>
        <p:spPr>
          <a:xfrm>
            <a:off x="442802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Dunkel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FA56A28D-A369-AD4B-AF9B-25C454F18A4E}"/>
              </a:ext>
            </a:extLst>
          </p:cNvPr>
          <p:cNvSpPr/>
          <p:nvPr userDrawn="1"/>
        </p:nvSpPr>
        <p:spPr>
          <a:xfrm>
            <a:off x="1310310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Mittel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EF2EF5B-E92A-5D4A-8161-D33FFACE7341}"/>
              </a:ext>
            </a:extLst>
          </p:cNvPr>
          <p:cNvSpPr/>
          <p:nvPr userDrawn="1"/>
        </p:nvSpPr>
        <p:spPr>
          <a:xfrm>
            <a:off x="2187234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Hell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14B21CFC-1C2A-AD4E-82DE-A68CEF4308BE}"/>
              </a:ext>
            </a:extLst>
          </p:cNvPr>
          <p:cNvSpPr/>
          <p:nvPr userDrawn="1"/>
        </p:nvSpPr>
        <p:spPr>
          <a:xfrm>
            <a:off x="3048909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Licht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C73389B4-7374-AB43-B9CD-0CA5B6ED4B02}"/>
              </a:ext>
            </a:extLst>
          </p:cNvPr>
          <p:cNvSpPr/>
          <p:nvPr userDrawn="1"/>
        </p:nvSpPr>
        <p:spPr>
          <a:xfrm>
            <a:off x="1617118" y="2240392"/>
            <a:ext cx="832193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chwarz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A8E62580-B452-9141-99B8-14D406341FD8}"/>
              </a:ext>
            </a:extLst>
          </p:cNvPr>
          <p:cNvSpPr/>
          <p:nvPr userDrawn="1"/>
        </p:nvSpPr>
        <p:spPr>
          <a:xfrm>
            <a:off x="2821937" y="2240392"/>
            <a:ext cx="832193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 err="1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Weiss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C5DB8B7-067A-624F-90A9-5FE69A8819FA}"/>
              </a:ext>
            </a:extLst>
          </p:cNvPr>
          <p:cNvSpPr/>
          <p:nvPr userDrawn="1"/>
        </p:nvSpPr>
        <p:spPr>
          <a:xfrm>
            <a:off x="4619182" y="1485446"/>
            <a:ext cx="607189" cy="500399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2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3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A10FA4C-181C-BD41-AD4E-730F52457796}"/>
              </a:ext>
            </a:extLst>
          </p:cNvPr>
          <p:cNvSpPr/>
          <p:nvPr userDrawn="1"/>
        </p:nvSpPr>
        <p:spPr>
          <a:xfrm>
            <a:off x="6354200" y="1485446"/>
            <a:ext cx="607189" cy="500399"/>
          </a:xfrm>
          <a:prstGeom prst="rect">
            <a:avLst/>
          </a:prstGeom>
          <a:solidFill>
            <a:schemeClr val="accent6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4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64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4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A2466A38-6ECC-DF4F-869F-B98502E2D6A6}"/>
              </a:ext>
            </a:extLst>
          </p:cNvPr>
          <p:cNvSpPr/>
          <p:nvPr userDrawn="1"/>
        </p:nvSpPr>
        <p:spPr>
          <a:xfrm>
            <a:off x="5486692" y="1485446"/>
            <a:ext cx="607189" cy="50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0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59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227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9F62C27-0EB2-5442-90B6-6A8F0C17931E}"/>
              </a:ext>
            </a:extLst>
          </p:cNvPr>
          <p:cNvSpPr/>
          <p:nvPr userDrawn="1"/>
        </p:nvSpPr>
        <p:spPr>
          <a:xfrm>
            <a:off x="7222141" y="1485446"/>
            <a:ext cx="607189" cy="500399"/>
          </a:xfrm>
          <a:prstGeom prst="rect">
            <a:avLst/>
          </a:prstGeom>
          <a:solidFill>
            <a:srgbClr val="DC0D15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21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2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2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5B9B3239-0231-A24D-B42D-624E409B3D20}"/>
              </a:ext>
            </a:extLst>
          </p:cNvPr>
          <p:cNvSpPr/>
          <p:nvPr userDrawn="1"/>
        </p:nvSpPr>
        <p:spPr>
          <a:xfrm>
            <a:off x="4619184" y="2091158"/>
            <a:ext cx="60718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Bl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90492F4-04D9-0D48-A32F-3E322C29483A}"/>
              </a:ext>
            </a:extLst>
          </p:cNvPr>
          <p:cNvSpPr/>
          <p:nvPr userDrawn="1"/>
        </p:nvSpPr>
        <p:spPr>
          <a:xfrm>
            <a:off x="5486691" y="2091158"/>
            <a:ext cx="705915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Cyan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0C3949AB-62CF-6643-83F3-F76B12005678}"/>
              </a:ext>
            </a:extLst>
          </p:cNvPr>
          <p:cNvSpPr/>
          <p:nvPr userDrawn="1"/>
        </p:nvSpPr>
        <p:spPr>
          <a:xfrm>
            <a:off x="6363616" y="2091157"/>
            <a:ext cx="70591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Violett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3CD1B9CD-D09C-5D4A-B064-6355897E2041}"/>
              </a:ext>
            </a:extLst>
          </p:cNvPr>
          <p:cNvSpPr/>
          <p:nvPr userDrawn="1"/>
        </p:nvSpPr>
        <p:spPr>
          <a:xfrm>
            <a:off x="7225291" y="2091158"/>
            <a:ext cx="60718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Rot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0B457DF-BD61-044B-ACA4-342889CA02A1}"/>
              </a:ext>
            </a:extLst>
          </p:cNvPr>
          <p:cNvSpPr/>
          <p:nvPr userDrawn="1"/>
        </p:nvSpPr>
        <p:spPr>
          <a:xfrm>
            <a:off x="4619182" y="2490933"/>
            <a:ext cx="607189" cy="500399"/>
          </a:xfrm>
          <a:prstGeom prst="rect">
            <a:avLst/>
          </a:prstGeom>
          <a:solidFill>
            <a:srgbClr val="F18700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241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3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0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931D8B5-D9AB-D547-B4C3-602A0499C239}"/>
              </a:ext>
            </a:extLst>
          </p:cNvPr>
          <p:cNvSpPr/>
          <p:nvPr userDrawn="1"/>
        </p:nvSpPr>
        <p:spPr>
          <a:xfrm>
            <a:off x="4619184" y="3096644"/>
            <a:ext cx="86750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Orange</a:t>
            </a:r>
          </a:p>
        </p:txBody>
      </p:sp>
    </p:spTree>
    <p:extLst>
      <p:ext uri="{BB962C8B-B14F-4D97-AF65-F5344CB8AC3E}">
        <p14:creationId xmlns:p14="http://schemas.microsoft.com/office/powerpoint/2010/main" val="2774680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63CEC714-79BB-CB4B-8FB7-5903011CD8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5649600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fontAlgn="b">
              <a:lnSpc>
                <a:spcPts val="18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 b="1" dirty="0">
                <a:effectLst/>
                <a:latin typeface="Arial" panose="020B0604020202020204" pitchFamily="34" charset="0"/>
              </a:rPr>
              <a:t>Absendername 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>
                <a:effectLst/>
                <a:latin typeface="Arial" panose="020B0604020202020204" pitchFamily="34" charset="0"/>
              </a:rPr>
              <a:t>Musterstraße 00 · 80000 München · Tel. +49 89 0000 0000 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 err="1">
                <a:effectLst/>
                <a:latin typeface="Arial" panose="020B0604020202020204" pitchFamily="34" charset="0"/>
              </a:rPr>
              <a:t>info@musterdomain.de</a:t>
            </a:r>
            <a:r>
              <a:rPr lang="de-DE" b="1" dirty="0">
                <a:effectLst/>
                <a:latin typeface="Arial" panose="020B0604020202020204" pitchFamily="34" charset="0"/>
              </a:rPr>
              <a:t> · </a:t>
            </a:r>
            <a:r>
              <a:rPr lang="de-DE" b="1" dirty="0" err="1">
                <a:effectLst/>
                <a:latin typeface="Arial" panose="020B0604020202020204" pitchFamily="34" charset="0"/>
              </a:rPr>
              <a:t>www.musterdomain.de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CD72F1F-1A49-6848-A8CB-5DD9EC0B6D6C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 amt="25000"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783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ehrzeilige(r) Name(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Presentation- and thesis detail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19EB485-FBBD-4178-04F5-4BE4EB9768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6919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(s) in two lin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pic>
        <p:nvPicPr>
          <p:cNvPr id="13" name="Bildplatzhalter 24">
            <a:extLst>
              <a:ext uri="{FF2B5EF4-FFF2-40B4-BE49-F238E27FC236}">
                <a16:creationId xmlns:a16="http://schemas.microsoft.com/office/drawing/2014/main" id="{9B225499-2631-B077-1DF3-A5A54B20222D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4766" y="1482852"/>
            <a:ext cx="6817200" cy="5373687"/>
          </a:xfrm>
          <a:prstGeom prst="rect">
            <a:avLst/>
          </a:prstGeom>
        </p:spPr>
      </p:pic>
      <p:sp>
        <p:nvSpPr>
          <p:cNvPr id="2" name="Titel 3">
            <a:extLst>
              <a:ext uri="{FF2B5EF4-FFF2-40B4-BE49-F238E27FC236}">
                <a16:creationId xmlns:a16="http://schemas.microsoft.com/office/drawing/2014/main" id="{F932244A-B4DF-915D-68D2-6662715FF4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765547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0D5E4CB1-52BD-4347-9E88-80FAA9FB2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Two-line name(s)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148751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stitel, Bild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8A3018A-0C50-1346-920A-3CC5ADBF33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7458" y="1484313"/>
            <a:ext cx="6817200" cy="5373687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algn="ctr">
              <a:buFontTx/>
              <a:buNone/>
              <a:defRPr sz="800" baseline="0"/>
            </a:lvl1pPr>
          </a:lstStyle>
          <a:p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5" name="Textplatzhalter 3">
            <a:extLst>
              <a:ext uri="{FF2B5EF4-FFF2-40B4-BE49-F238E27FC236}">
                <a16:creationId xmlns:a16="http://schemas.microsoft.com/office/drawing/2014/main" id="{905E8049-4D1E-2CDB-A94A-1C0435E77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Single-line name  ####### Erase this line ###########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51A4F26B-EEFA-3F15-51D1-A7331893AC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4320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</a:t>
            </a:r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073F6CBE-8BEF-6494-A82B-92FCC5530D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621666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7060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äsentationstitel, Bild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8A3018A-0C50-1346-920A-3CC5ADBF33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7458" y="1484313"/>
            <a:ext cx="6817200" cy="5373687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algn="ctr">
              <a:buFontTx/>
              <a:buNone/>
              <a:defRPr sz="800" baseline="0"/>
            </a:lvl1pPr>
          </a:lstStyle>
          <a:p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2" name="Untertitel 2">
            <a:extLst>
              <a:ext uri="{FF2B5EF4-FFF2-40B4-BE49-F238E27FC236}">
                <a16:creationId xmlns:a16="http://schemas.microsoft.com/office/drawing/2014/main" id="{EB5AEA6D-A74C-E5DA-38B7-FF932D2415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6919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(s) in two lines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D4385398-F26C-4EF4-3E8F-2E1AC4C6E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765547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905E8049-4D1E-2CDB-A94A-1C0435E77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Two-line name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1115342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A01B540-1535-644B-B828-DE3173BE5EAF}"/>
              </a:ext>
            </a:extLst>
          </p:cNvPr>
          <p:cNvSpPr/>
          <p:nvPr userDrawn="1"/>
        </p:nvSpPr>
        <p:spPr>
          <a:xfrm>
            <a:off x="5376454" y="1484313"/>
            <a:ext cx="6815545" cy="53736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968607-CF30-B14E-8DDB-DAB295493CFF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8FDCD6-6E84-7E41-A4E8-F8C848B326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>
              <a:lnSpc>
                <a:spcPct val="88000"/>
              </a:lnSpc>
              <a:spcBef>
                <a:spcPts val="0"/>
              </a:spcBef>
              <a:buFontTx/>
              <a:buNone/>
              <a:defRPr sz="680" b="1" i="0" cap="all" spc="80" baseline="0"/>
            </a:lvl1pPr>
            <a:lvl2pPr indent="0">
              <a:lnSpc>
                <a:spcPts val="880"/>
              </a:lnSpc>
              <a:buFontTx/>
              <a:buNone/>
              <a:defRPr sz="680" b="1" i="0" cap="all" spc="80" baseline="0"/>
            </a:lvl2pPr>
            <a:lvl3pPr indent="0">
              <a:lnSpc>
                <a:spcPts val="880"/>
              </a:lnSpc>
              <a:buFontTx/>
              <a:buNone/>
              <a:defRPr sz="680" b="1" i="0" cap="all" spc="80" baseline="0"/>
            </a:lvl3pPr>
            <a:lvl4pPr indent="0">
              <a:lnSpc>
                <a:spcPts val="880"/>
              </a:lnSpc>
              <a:buFontTx/>
              <a:buNone/>
              <a:defRPr sz="680" b="1" i="0" cap="all" spc="80" baseline="0"/>
            </a:lvl4pPr>
            <a:lvl5pPr indent="0">
              <a:lnSpc>
                <a:spcPts val="880"/>
              </a:lnSpc>
              <a:buFontTx/>
              <a:buNone/>
              <a:defRPr sz="680" b="1" i="0" cap="all" spc="80" baseline="0"/>
            </a:lvl5pPr>
          </a:lstStyle>
          <a:p>
            <a:pPr marL="0" indent="0">
              <a:lnSpc>
                <a:spcPct val="88000"/>
              </a:lnSpc>
              <a:spcBef>
                <a:spcPts val="0"/>
              </a:spcBef>
              <a:buFontTx/>
              <a:buNone/>
            </a:pPr>
            <a:r>
              <a:rPr lang="de-DE" sz="680" b="1" i="0" baseline="0">
                <a:latin typeface="Arial" panose="020B0604020202020204" pitchFamily="34" charset="0"/>
              </a:rPr>
              <a:t> </a:t>
            </a:r>
            <a:endParaRPr lang="de-DE" sz="680" b="1" i="0" baseline="0" dirty="0">
              <a:latin typeface="Arial" panose="020B0604020202020204" pitchFamily="34" charset="0"/>
            </a:endParaRP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85CA223-B97D-E0F1-D44C-1638DBA63D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5728F8-66F0-434D-F60B-D0216342293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5" name="Textplatzhalter 3">
            <a:extLst>
              <a:ext uri="{FF2B5EF4-FFF2-40B4-BE49-F238E27FC236}">
                <a16:creationId xmlns:a16="http://schemas.microsoft.com/office/drawing/2014/main" id="{F4975E70-4B5C-22EB-9515-789D1942AD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single-line name(s)  ####### Erase this line ###########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CD0A9D51-6853-C6C7-46B5-5481AADF65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4320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</a:t>
            </a: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25147499-4E9A-2D70-073D-4BCECB5D7E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621666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145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stitel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A01B540-1535-644B-B828-DE3173BE5EAF}"/>
              </a:ext>
            </a:extLst>
          </p:cNvPr>
          <p:cNvSpPr/>
          <p:nvPr userDrawn="1"/>
        </p:nvSpPr>
        <p:spPr>
          <a:xfrm>
            <a:off x="5376454" y="1484313"/>
            <a:ext cx="6815545" cy="53736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968607-CF30-B14E-8DDB-DAB295493CFF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8FDCD6-6E84-7E41-A4E8-F8C848B326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>
              <a:lnSpc>
                <a:spcPct val="88000"/>
              </a:lnSpc>
              <a:spcBef>
                <a:spcPts val="0"/>
              </a:spcBef>
              <a:buFontTx/>
              <a:buNone/>
              <a:defRPr sz="680" b="1" i="0" cap="all" spc="80" baseline="0"/>
            </a:lvl1pPr>
            <a:lvl2pPr indent="0">
              <a:lnSpc>
                <a:spcPts val="880"/>
              </a:lnSpc>
              <a:buFontTx/>
              <a:buNone/>
              <a:defRPr sz="680" b="1" i="0" cap="all" spc="80" baseline="0"/>
            </a:lvl2pPr>
            <a:lvl3pPr indent="0">
              <a:lnSpc>
                <a:spcPts val="880"/>
              </a:lnSpc>
              <a:buFontTx/>
              <a:buNone/>
              <a:defRPr sz="680" b="1" i="0" cap="all" spc="80" baseline="0"/>
            </a:lvl3pPr>
            <a:lvl4pPr indent="0">
              <a:lnSpc>
                <a:spcPts val="880"/>
              </a:lnSpc>
              <a:buFontTx/>
              <a:buNone/>
              <a:defRPr sz="680" b="1" i="0" cap="all" spc="80" baseline="0"/>
            </a:lvl4pPr>
            <a:lvl5pPr indent="0">
              <a:lnSpc>
                <a:spcPts val="880"/>
              </a:lnSpc>
              <a:buFontTx/>
              <a:buNone/>
              <a:defRPr sz="680" b="1" i="0" cap="all" spc="80" baseline="0"/>
            </a:lvl5pPr>
          </a:lstStyle>
          <a:p>
            <a:pPr marL="0" indent="0">
              <a:lnSpc>
                <a:spcPct val="88000"/>
              </a:lnSpc>
              <a:spcBef>
                <a:spcPts val="0"/>
              </a:spcBef>
              <a:buFontTx/>
              <a:buNone/>
            </a:pPr>
            <a:r>
              <a:rPr lang="de-DE" sz="680" b="1" i="0" baseline="0">
                <a:latin typeface="Arial" panose="020B0604020202020204" pitchFamily="34" charset="0"/>
              </a:rPr>
              <a:t> </a:t>
            </a:r>
            <a:endParaRPr lang="de-DE" sz="680" b="1" i="0" baseline="0" dirty="0">
              <a:latin typeface="Arial" panose="020B0604020202020204" pitchFamily="34" charset="0"/>
            </a:endParaRP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85CA223-B97D-E0F1-D44C-1638DBA63D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5728F8-66F0-434D-F60B-D0216342293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2" name="Untertitel 2">
            <a:extLst>
              <a:ext uri="{FF2B5EF4-FFF2-40B4-BE49-F238E27FC236}">
                <a16:creationId xmlns:a16="http://schemas.microsoft.com/office/drawing/2014/main" id="{335359E2-C187-8EC9-1FA0-B585031EAF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6919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(s) in two lines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8708AEAC-8AF1-172E-B598-5BB5DFDBE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765547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F4975E70-4B5C-22EB-9515-789D1942AD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Two-line name(s)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2849926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A01B540-1535-644B-B828-DE3173BE5EAF}"/>
              </a:ext>
            </a:extLst>
          </p:cNvPr>
          <p:cNvSpPr/>
          <p:nvPr userDrawn="1"/>
        </p:nvSpPr>
        <p:spPr>
          <a:xfrm>
            <a:off x="5376454" y="1484313"/>
            <a:ext cx="6815545" cy="5373687"/>
          </a:xfrm>
          <a:prstGeom prst="rect">
            <a:avLst/>
          </a:prstGeom>
          <a:solidFill>
            <a:srgbClr val="6164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968607-CF30-B14E-8DDB-DAB295493CFF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AD86DE8-5751-A440-B2C4-58BF4A19C0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fontAlgn="b">
              <a:lnSpc>
                <a:spcPts val="18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 b="1" dirty="0">
                <a:effectLst/>
                <a:latin typeface="Arial" panose="020B0604020202020204" pitchFamily="34" charset="0"/>
              </a:rPr>
              <a:t>Dr. Max Maria Mustermann 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>
                <a:effectLst/>
                <a:latin typeface="Arial" panose="020B0604020202020204" pitchFamily="34" charset="0"/>
              </a:rPr>
              <a:t>01.11.2020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8FD44F83-A00E-0042-991C-257038255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088" y="2160000"/>
            <a:ext cx="4510087" cy="14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360"/>
              </a:lnSpc>
              <a:spcBef>
                <a:spcPts val="0"/>
              </a:spcBef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 b="1" dirty="0">
                <a:effectLst/>
                <a:latin typeface="Arial" panose="020B0604020202020204" pitchFamily="34" charset="0"/>
              </a:rPr>
              <a:t>Präsentationstitel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>
                <a:effectLst/>
                <a:latin typeface="Arial" panose="020B0604020202020204" pitchFamily="34" charset="0"/>
              </a:rPr>
              <a:t>Zeile 2 des Titel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5B08AD0-8199-4442-8676-028CF9521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>
              <a:lnSpc>
                <a:spcPct val="88000"/>
              </a:lnSpc>
              <a:spcBef>
                <a:spcPts val="0"/>
              </a:spcBef>
              <a:buFontTx/>
              <a:buNone/>
              <a:defRPr sz="680" b="1" i="0" cap="all" spc="80" baseline="0"/>
            </a:lvl1pPr>
            <a:lvl2pPr indent="0">
              <a:lnSpc>
                <a:spcPts val="880"/>
              </a:lnSpc>
              <a:buFontTx/>
              <a:buNone/>
              <a:defRPr sz="680" b="1" i="0" cap="all" spc="80" baseline="0"/>
            </a:lvl2pPr>
            <a:lvl3pPr indent="0">
              <a:lnSpc>
                <a:spcPts val="880"/>
              </a:lnSpc>
              <a:buFontTx/>
              <a:buNone/>
              <a:defRPr sz="680" b="1" i="0" cap="all" spc="80" baseline="0"/>
            </a:lvl3pPr>
            <a:lvl4pPr indent="0">
              <a:lnSpc>
                <a:spcPts val="880"/>
              </a:lnSpc>
              <a:buFontTx/>
              <a:buNone/>
              <a:defRPr sz="680" b="1" i="0" cap="all" spc="80" baseline="0"/>
            </a:lvl4pPr>
            <a:lvl5pPr indent="0">
              <a:lnSpc>
                <a:spcPts val="880"/>
              </a:lnSpc>
              <a:buFontTx/>
              <a:buNone/>
              <a:defRPr sz="680" b="1" i="0" cap="all" spc="80" baseline="0"/>
            </a:lvl5pPr>
          </a:lstStyle>
          <a:p>
            <a:pPr marL="0" indent="0">
              <a:lnSpc>
                <a:spcPct val="88000"/>
              </a:lnSpc>
              <a:spcBef>
                <a:spcPts val="0"/>
              </a:spcBef>
              <a:buFontTx/>
              <a:buNone/>
            </a:pPr>
            <a:r>
              <a:rPr lang="de-DE" sz="680" b="1" i="0" baseline="0" dirty="0">
                <a:latin typeface="Arial" panose="020B0604020202020204" pitchFamily="34" charset="0"/>
              </a:rPr>
              <a:t>ÜBERSCHRIFT / TITEL / EINRICHTUNG XY</a:t>
            </a:r>
          </a:p>
        </p:txBody>
      </p:sp>
    </p:spTree>
    <p:extLst>
      <p:ext uri="{BB962C8B-B14F-4D97-AF65-F5344CB8AC3E}">
        <p14:creationId xmlns:p14="http://schemas.microsoft.com/office/powerpoint/2010/main" val="3023470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1DF7720-7E46-0340-BCE7-71A2014BEE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2160000"/>
            <a:ext cx="7200000" cy="14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360"/>
              </a:lnSpc>
              <a:spcBef>
                <a:spcPts val="0"/>
              </a:spcBef>
              <a:buFontTx/>
              <a:buNone/>
              <a:defRPr sz="2800" b="1" i="0" baseline="0">
                <a:latin typeface="Arial" panose="020B0604020202020204" pitchFamily="34" charset="0"/>
              </a:defRPr>
            </a:lvl1pPr>
            <a:lvl2pPr>
              <a:buFontTx/>
              <a:buNone/>
              <a:defRPr sz="2800" b="1" i="0" baseline="0">
                <a:latin typeface="Arial" panose="020B0604020202020204" pitchFamily="34" charset="0"/>
              </a:defRPr>
            </a:lvl2pPr>
            <a:lvl3pPr>
              <a:buFontTx/>
              <a:buNone/>
              <a:defRPr sz="2800" b="1" i="0" baseline="0">
                <a:latin typeface="Arial" panose="020B0604020202020204" pitchFamily="34" charset="0"/>
              </a:defRPr>
            </a:lvl3pPr>
            <a:lvl4pPr>
              <a:buFontTx/>
              <a:buNone/>
              <a:defRPr sz="2800" b="1" i="0" baseline="0">
                <a:latin typeface="Arial" panose="020B0604020202020204" pitchFamily="34" charset="0"/>
              </a:defRPr>
            </a:lvl4pPr>
            <a:lvl5pPr>
              <a:buFontTx/>
              <a:buNone/>
              <a:defRPr sz="2800" b="1" i="0" baseline="0"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1. Erstes Kapitel</a:t>
            </a:r>
          </a:p>
        </p:txBody>
      </p:sp>
    </p:spTree>
    <p:extLst>
      <p:ext uri="{BB962C8B-B14F-4D97-AF65-F5344CB8AC3E}">
        <p14:creationId xmlns:p14="http://schemas.microsoft.com/office/powerpoint/2010/main" val="21787506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titel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7">
            <a:extLst>
              <a:ext uri="{FF2B5EF4-FFF2-40B4-BE49-F238E27FC236}">
                <a16:creationId xmlns:a16="http://schemas.microsoft.com/office/drawing/2014/main" id="{86578B51-FD95-A9BB-76CD-8420E38721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B772B92-DCAA-C372-8FA0-956F55266D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88AD57A2-3E01-07BD-936A-666071689E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DE05814-3898-F167-4E63-E4A0FD93B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601" y="138540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870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FD8EF26-FA82-6D40-93F2-70EAE952FA46}"/>
              </a:ext>
            </a:extLst>
          </p:cNvPr>
          <p:cNvSpPr/>
          <p:nvPr userDrawn="1"/>
        </p:nvSpPr>
        <p:spPr>
          <a:xfrm>
            <a:off x="1" y="1483200"/>
            <a:ext cx="5376454" cy="537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A465598-6EE5-EE49-A177-6E3551F9A56A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46400" y="442800"/>
            <a:ext cx="11303000" cy="8255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4707124-3686-4E6A-5A59-1CB8D255AB77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547DFAC8-0A0F-50BC-6EE6-B717EA268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55" y="1818540"/>
            <a:ext cx="503086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5" r:id="rId2"/>
    <p:sldLayoutId id="2147483684" r:id="rId3"/>
    <p:sldLayoutId id="2147483688" r:id="rId4"/>
    <p:sldLayoutId id="2147483655" r:id="rId5"/>
    <p:sldLayoutId id="2147483687" r:id="rId6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9" pos="7401" userDrawn="1">
          <p15:clr>
            <a:srgbClr val="F26B43"/>
          </p15:clr>
        </p15:guide>
        <p15:guide id="13" pos="279" userDrawn="1">
          <p15:clr>
            <a:srgbClr val="F26B43"/>
          </p15:clr>
        </p15:guide>
        <p15:guide id="14" orient="horz" pos="278" userDrawn="1">
          <p15:clr>
            <a:srgbClr val="F26B43"/>
          </p15:clr>
        </p15:guide>
        <p15:guide id="15" orient="horz" userDrawn="1">
          <p15:clr>
            <a:srgbClr val="F26B43"/>
          </p15:clr>
        </p15:guide>
        <p15:guide id="16" orient="horz" pos="13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FD8EF26-FA82-6D40-93F2-70EAE952FA46}"/>
              </a:ext>
            </a:extLst>
          </p:cNvPr>
          <p:cNvSpPr/>
          <p:nvPr userDrawn="1"/>
        </p:nvSpPr>
        <p:spPr>
          <a:xfrm>
            <a:off x="1" y="1483200"/>
            <a:ext cx="5376454" cy="537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4EC720E-3048-2B4D-B927-E08F3BECF120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44500" y="442800"/>
            <a:ext cx="11303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56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799E554-D74C-2D46-A4A0-20AFFC9B0320}"/>
              </a:ext>
            </a:extLst>
          </p:cNvPr>
          <p:cNvPicPr>
            <a:picLocks noChangeAspect="1"/>
          </p:cNvPicPr>
          <p:nvPr userDrawn="1"/>
        </p:nvPicPr>
        <p:blipFill>
          <a:blip>
            <a:alphaModFix amt="15000"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A7DF8FA-2683-4642-B02D-78840267E6F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46399" y="441325"/>
            <a:ext cx="1744349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94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450F987-FA49-6B46-BF54-C31FF84DB439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46400" y="442800"/>
            <a:ext cx="11303000" cy="8255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B9AE9DF-D3BC-8785-319B-EE2B0EF5EE16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14" name="Fußzeilenplatzhalter 7">
            <a:extLst>
              <a:ext uri="{FF2B5EF4-FFF2-40B4-BE49-F238E27FC236}">
                <a16:creationId xmlns:a16="http://schemas.microsoft.com/office/drawing/2014/main" id="{9291F454-BFDB-8198-439B-C8F9F57DC6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B4A204F3-02F5-155E-95D9-2AF322B37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Datumsplatzhalter 12">
            <a:extLst>
              <a:ext uri="{FF2B5EF4-FFF2-40B4-BE49-F238E27FC236}">
                <a16:creationId xmlns:a16="http://schemas.microsoft.com/office/drawing/2014/main" id="{49CE7F4D-220E-232D-E141-536C6014B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E89BA9F6-5A0A-D436-5889-3E3532B3D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400" y="1369114"/>
            <a:ext cx="11303000" cy="5046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060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75" r:id="rId2"/>
    <p:sldLayoutId id="2147483680" r:id="rId3"/>
    <p:sldLayoutId id="2147483678" r:id="rId4"/>
    <p:sldLayoutId id="2147483679" r:id="rId5"/>
    <p:sldLayoutId id="2147483683" r:id="rId6"/>
    <p:sldLayoutId id="2147483681" r:id="rId7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  <p15:guide id="16" orient="horz" pos="1366" userDrawn="1">
          <p15:clr>
            <a:srgbClr val="F26B43"/>
          </p15:clr>
        </p15:guide>
        <p15:guide id="18" pos="1459" userDrawn="1">
          <p15:clr>
            <a:srgbClr val="F26B43"/>
          </p15:clr>
        </p15:guide>
        <p15:guide id="19" pos="2048" userDrawn="1">
          <p15:clr>
            <a:srgbClr val="F26B43"/>
          </p15:clr>
        </p15:guide>
        <p15:guide id="20" pos="2638" userDrawn="1">
          <p15:clr>
            <a:srgbClr val="F26B43"/>
          </p15:clr>
        </p15:guide>
        <p15:guide id="21" pos="3228" userDrawn="1">
          <p15:clr>
            <a:srgbClr val="F26B43"/>
          </p15:clr>
        </p15:guide>
        <p15:guide id="23" pos="3817" userDrawn="1">
          <p15:clr>
            <a:srgbClr val="F26B43"/>
          </p15:clr>
        </p15:guide>
        <p15:guide id="24" pos="4407" userDrawn="1">
          <p15:clr>
            <a:srgbClr val="F26B43"/>
          </p15:clr>
        </p15:guide>
        <p15:guide id="26" pos="4997" userDrawn="1">
          <p15:clr>
            <a:srgbClr val="F26B43"/>
          </p15:clr>
        </p15:guide>
        <p15:guide id="27" pos="5586" userDrawn="1">
          <p15:clr>
            <a:srgbClr val="F26B43"/>
          </p15:clr>
        </p15:guide>
        <p15:guide id="28" pos="6176" userDrawn="1">
          <p15:clr>
            <a:srgbClr val="F26B43"/>
          </p15:clr>
        </p15:guide>
        <p15:guide id="29" pos="6766" userDrawn="1">
          <p15:clr>
            <a:srgbClr val="F26B43"/>
          </p15:clr>
        </p15:guide>
        <p15:guide id="30" pos="86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A1018C16-4F36-B67C-8E79-8732ACF90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1FD24D9C-59CF-8FB9-39D9-83CA49CD8D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Datumsplatzhalter 12">
            <a:extLst>
              <a:ext uri="{FF2B5EF4-FFF2-40B4-BE49-F238E27FC236}">
                <a16:creationId xmlns:a16="http://schemas.microsoft.com/office/drawing/2014/main" id="{70A24E9C-A265-A86E-2FA5-2D0D5E5C6F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73918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DED63A8-5311-184A-B74C-C37B428BFE1A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446400" y="442801"/>
            <a:ext cx="1745167" cy="825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10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ibm_research_zurich/23518086798" TargetMode="Externa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reativecommons.org/licenses/by-nd/3.0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tangledphysics.com/page/2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reativecommons.org/licenses/by-nc-nd/3.0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d/3.0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nd/3.0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www.comptoir-hardware.com/actus/cartes-graphiques/41568-nvidia-tesla-a100-le-nouveau-gpu-monstre-a-54-milliards-de-transistors.html" TargetMode="External"/><Relationship Id="rId4" Type="http://schemas.openxmlformats.org/officeDocument/2006/relationships/image" Target="../media/image5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D8D8F3B-D641-5554-E5AE-D64FAB90F6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6400" y="5184000"/>
            <a:ext cx="4796932" cy="1276350"/>
          </a:xfrm>
        </p:spPr>
        <p:txBody>
          <a:bodyPr anchor="ctr"/>
          <a:lstStyle/>
          <a:p>
            <a:r>
              <a:rPr lang="de-DE" dirty="0">
                <a:effectLst/>
                <a:latin typeface="Arial" panose="020B0604020202020204" pitchFamily="34" charset="0"/>
              </a:rPr>
              <a:t>Initial </a:t>
            </a:r>
            <a:r>
              <a:rPr lang="de-DE" dirty="0" err="1">
                <a:effectLst/>
                <a:latin typeface="Arial" panose="020B0604020202020204" pitchFamily="34" charset="0"/>
              </a:rPr>
              <a:t>presentation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or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the</a:t>
            </a:r>
            <a:r>
              <a:rPr lang="de-DE" dirty="0">
                <a:effectLst/>
                <a:latin typeface="Arial" panose="020B0604020202020204" pitchFamily="34" charset="0"/>
              </a:rPr>
              <a:t> Praktikum </a:t>
            </a:r>
            <a:r>
              <a:rPr lang="de-DE" dirty="0" err="1">
                <a:effectLst/>
                <a:latin typeface="Arial" panose="020B0604020202020204" pitchFamily="34" charset="0"/>
              </a:rPr>
              <a:t>of</a:t>
            </a:r>
            <a:r>
              <a:rPr lang="de-DE" dirty="0">
                <a:effectLst/>
                <a:latin typeface="Arial" panose="020B0604020202020204" pitchFamily="34" charset="0"/>
              </a:rPr>
              <a:t> Quantum Computing</a:t>
            </a:r>
          </a:p>
          <a:p>
            <a:r>
              <a:rPr lang="de-DE" dirty="0">
                <a:effectLst/>
                <a:latin typeface="Arial" panose="020B0604020202020204" pitchFamily="34" charset="0"/>
              </a:rPr>
              <a:t>Task </a:t>
            </a:r>
            <a:r>
              <a:rPr lang="de-DE" dirty="0" err="1">
                <a:effectLst/>
                <a:latin typeface="Arial" panose="020B0604020202020204" pitchFamily="34" charset="0"/>
              </a:rPr>
              <a:t>assign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y</a:t>
            </a:r>
            <a:r>
              <a:rPr lang="de-DE" dirty="0">
                <a:effectLst/>
                <a:latin typeface="Arial" panose="020B0604020202020204" pitchFamily="34" charset="0"/>
              </a:rPr>
              <a:t>: Prof. Dr. Kranzlmüller</a:t>
            </a:r>
          </a:p>
          <a:p>
            <a:r>
              <a:rPr lang="de-DE" dirty="0" err="1">
                <a:effectLst/>
                <a:latin typeface="Arial" panose="020B0604020202020204" pitchFamily="34" charset="0"/>
              </a:rPr>
              <a:t>Supervis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y</a:t>
            </a:r>
            <a:r>
              <a:rPr lang="de-DE" dirty="0">
                <a:effectLst/>
                <a:latin typeface="Arial" panose="020B0604020202020204" pitchFamily="34" charset="0"/>
              </a:rPr>
              <a:t>: F. </a:t>
            </a:r>
            <a:r>
              <a:rPr lang="de-DE" dirty="0" err="1">
                <a:effectLst/>
                <a:latin typeface="Arial" panose="020B0604020202020204" pitchFamily="34" charset="0"/>
              </a:rPr>
              <a:t>Krötz</a:t>
            </a:r>
            <a:r>
              <a:rPr lang="de-DE" dirty="0">
                <a:effectLst/>
                <a:latin typeface="Arial" panose="020B0604020202020204" pitchFamily="34" charset="0"/>
              </a:rPr>
              <a:t>, K. Staudacher, </a:t>
            </a:r>
            <a:r>
              <a:rPr lang="de-DE" dirty="0" err="1">
                <a:effectLst/>
                <a:latin typeface="Arial" panose="020B0604020202020204" pitchFamily="34" charset="0"/>
              </a:rPr>
              <a:t>X.To</a:t>
            </a:r>
            <a:endParaRPr lang="de-DE" dirty="0">
              <a:effectLst/>
              <a:latin typeface="Arial" panose="020B0604020202020204" pitchFamily="34" charset="0"/>
            </a:endParaRPr>
          </a:p>
          <a:p>
            <a:r>
              <a:rPr lang="de-DE" dirty="0">
                <a:effectLst/>
                <a:latin typeface="Arial" panose="020B0604020202020204" pitchFamily="34" charset="0"/>
              </a:rPr>
              <a:t>Date </a:t>
            </a:r>
            <a:r>
              <a:rPr lang="de-DE" dirty="0" err="1">
                <a:effectLst/>
                <a:latin typeface="Arial" panose="020B0604020202020204" pitchFamily="34" charset="0"/>
              </a:rPr>
              <a:t>of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resentation</a:t>
            </a:r>
            <a:r>
              <a:rPr lang="de-DE" dirty="0">
                <a:effectLst/>
                <a:latin typeface="Arial" panose="020B0604020202020204" pitchFamily="34" charset="0"/>
              </a:rPr>
              <a:t>: 11th </a:t>
            </a:r>
            <a:r>
              <a:rPr lang="de-DE" dirty="0" err="1">
                <a:effectLst/>
                <a:latin typeface="Arial" panose="020B0604020202020204" pitchFamily="34" charset="0"/>
              </a:rPr>
              <a:t>of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October</a:t>
            </a:r>
            <a:r>
              <a:rPr lang="de-DE" dirty="0">
                <a:effectLst/>
                <a:latin typeface="Arial" panose="020B0604020202020204" pitchFamily="34" charset="0"/>
              </a:rPr>
              <a:t> 2024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818A355-2627-375B-5BB9-C600B9A5D3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anto, Shannah and Vikto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4D0704-DEA5-B7FD-A0F5-E811FA7FC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on and Optimization of a State Vector Quantum Simulator</a:t>
            </a:r>
          </a:p>
        </p:txBody>
      </p:sp>
    </p:spTree>
    <p:extLst>
      <p:ext uri="{BB962C8B-B14F-4D97-AF65-F5344CB8AC3E}">
        <p14:creationId xmlns:p14="http://schemas.microsoft.com/office/powerpoint/2010/main" val="1948534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A6CD5CFE-D7D5-5765-A4CE-BBE016F1BF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CEB29F12-EFCC-C840-5315-B4071A9AE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2</a:t>
            </a:fld>
            <a:endParaRPr lang="en-US"/>
          </a:p>
        </p:txBody>
      </p:sp>
      <p:pic>
        <p:nvPicPr>
          <p:cNvPr id="5" name="Content Placeholder 4" descr="A close-up of a machine&#10;&#10;Description automatically generated">
            <a:extLst>
              <a:ext uri="{FF2B5EF4-FFF2-40B4-BE49-F238E27FC236}">
                <a16:creationId xmlns:a16="http://schemas.microsoft.com/office/drawing/2014/main" id="{58C9E170-30E9-E575-7D10-28E1F12A09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9378335" y="1697518"/>
            <a:ext cx="2165956" cy="4085781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51D20C-28DF-29A8-C34F-67E97C89E2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7CD908-7ED8-E48D-BC17-A21FAC329FCB}"/>
              </a:ext>
            </a:extLst>
          </p:cNvPr>
          <p:cNvSpPr txBox="1"/>
          <p:nvPr/>
        </p:nvSpPr>
        <p:spPr>
          <a:xfrm>
            <a:off x="9530990" y="5845760"/>
            <a:ext cx="1860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3" tooltip="https://www.flickr.com/photos/ibm_research_zurich/23518086798"/>
              </a:rPr>
              <a:t>This 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4" tooltip="https://creativecommons.org/licenses/by-nd/3.0/"/>
              </a:rPr>
              <a:t>CC BY-ND</a:t>
            </a:r>
            <a:endParaRPr lang="en-US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7FA9CE-5DDB-A78B-CCAF-BF45DC956221}"/>
              </a:ext>
            </a:extLst>
          </p:cNvPr>
          <p:cNvSpPr txBox="1"/>
          <p:nvPr/>
        </p:nvSpPr>
        <p:spPr>
          <a:xfrm>
            <a:off x="647708" y="1697517"/>
            <a:ext cx="81365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antum simulator </a:t>
            </a:r>
            <a:r>
              <a:rPr lang="en-US" b="1" dirty="0"/>
              <a:t>efficiency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ow us to know if we achieve quantum supremac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mize problem size to a magnitude computable by classical comput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Goal</a:t>
            </a:r>
            <a:r>
              <a:rPr lang="en-US" dirty="0"/>
              <a:t>: create a simulator that can generate an output in a minimum amount of time for a specific circuit by </a:t>
            </a:r>
            <a:r>
              <a:rPr lang="en-US" i="1" dirty="0"/>
              <a:t>reducing it to the </a:t>
            </a:r>
            <a:r>
              <a:rPr lang="en-US" b="1" i="1" dirty="0"/>
              <a:t>minimum</a:t>
            </a:r>
            <a:r>
              <a:rPr lang="en-US" i="1" dirty="0"/>
              <a:t> problem size</a:t>
            </a:r>
            <a:r>
              <a:rPr lang="en-US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057789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AAB919-4B44-73EB-8754-D907243BBC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6D1F41-28D1-6DF5-ED7B-BC237421D3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3</a:t>
            </a:fld>
            <a:endParaRPr lang="en-US"/>
          </a:p>
        </p:txBody>
      </p:sp>
      <p:pic>
        <p:nvPicPr>
          <p:cNvPr id="7" name="Content Placeholder 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2BF14C9-0DAC-5DC8-3B3D-9A61E71D32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079721" y="1636705"/>
            <a:ext cx="3756221" cy="4255094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C909C5-E54E-2F24-5BCC-AF1B507B88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imulate State vecto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7A0858-722A-8D37-DE01-0FEAC80B526A}"/>
              </a:ext>
            </a:extLst>
          </p:cNvPr>
          <p:cNvSpPr txBox="1"/>
          <p:nvPr/>
        </p:nvSpPr>
        <p:spPr>
          <a:xfrm>
            <a:off x="8079721" y="6000026"/>
            <a:ext cx="37562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3" tooltip="https://entangledphysics.com/page/2/"/>
              </a:rPr>
              <a:t>This 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4" tooltip="https://creativecommons.org/licenses/by-nc-nd/3.0/"/>
              </a:rPr>
              <a:t>CC BY-NC-ND</a:t>
            </a:r>
            <a:endParaRPr lang="en-US" sz="9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E38B9A-DBCD-6A0D-2E6D-0FF5C4EEE833}"/>
              </a:ext>
            </a:extLst>
          </p:cNvPr>
          <p:cNvSpPr txBox="1"/>
          <p:nvPr/>
        </p:nvSpPr>
        <p:spPr>
          <a:xfrm>
            <a:off x="647708" y="1697517"/>
            <a:ext cx="707222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y this choic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Advantage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ry efficient and straightforward for small circu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-fidelity simulations for pure sta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t of room for optimiz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Disadvantage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efficient for mixed states, systems with noise and decoher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 very big matrices (due to multiple Kronecker products) and uses a lot of memory. Exponential Memory Growth.</a:t>
            </a:r>
          </a:p>
          <a:p>
            <a:endParaRPr lang="en-US" dirty="0"/>
          </a:p>
          <a:p>
            <a:r>
              <a:rPr lang="en-US" b="1" dirty="0"/>
              <a:t>Goal</a:t>
            </a:r>
            <a:r>
              <a:rPr lang="en-US" dirty="0"/>
              <a:t>: create a simulator that can generate an output in a minimum amount of time for a specific circuit by </a:t>
            </a:r>
            <a:r>
              <a:rPr lang="en-US" i="1" dirty="0"/>
              <a:t>reducing it to the </a:t>
            </a:r>
            <a:r>
              <a:rPr lang="en-US" b="1" i="1" dirty="0"/>
              <a:t>minimum</a:t>
            </a:r>
            <a:r>
              <a:rPr lang="en-US" i="1" dirty="0"/>
              <a:t> problem size</a:t>
            </a:r>
            <a:r>
              <a:rPr lang="en-US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999029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B932B9-6762-9580-BB69-674FF893AA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0F7A23-7674-36FF-ACEE-23E138546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3D8D65-3F18-4C39-C701-36E8D79CD0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Cpu</a:t>
            </a:r>
            <a:r>
              <a:rPr lang="en-US" dirty="0"/>
              <a:t> architecture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5B58DBC-81C4-DBE5-0337-3C661DEAA2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176193" y="1445639"/>
            <a:ext cx="3541900" cy="419066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D3122C7-4016-8913-D485-7F2AD9131B0C}"/>
              </a:ext>
            </a:extLst>
          </p:cNvPr>
          <p:cNvSpPr txBox="1"/>
          <p:nvPr/>
        </p:nvSpPr>
        <p:spPr>
          <a:xfrm>
            <a:off x="647708" y="1697517"/>
            <a:ext cx="710220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antum simulator </a:t>
            </a:r>
            <a:r>
              <a:rPr lang="en-US" b="1" dirty="0"/>
              <a:t>on CPUs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iven the many cores of </a:t>
            </a:r>
            <a:r>
              <a:rPr lang="en-US" i="1" dirty="0"/>
              <a:t>ice1, </a:t>
            </a:r>
            <a:r>
              <a:rPr lang="en-US" dirty="0"/>
              <a:t>the computation are </a:t>
            </a:r>
            <a:r>
              <a:rPr lang="en-US" dirty="0" err="1"/>
              <a:t>multiprocessed</a:t>
            </a:r>
            <a:r>
              <a:rPr lang="en-US" dirty="0"/>
              <a:t> (not only separated by threads, but by core)</a:t>
            </a: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utation of Kronecker or tensor product is computed by chunks instead of being fully fed in the operator.</a:t>
            </a:r>
          </a:p>
          <a:p>
            <a:endParaRPr lang="en-US" dirty="0"/>
          </a:p>
          <a:p>
            <a:endParaRPr lang="en-US" b="1" dirty="0"/>
          </a:p>
          <a:p>
            <a:r>
              <a:rPr lang="en-US" b="1" dirty="0"/>
              <a:t>Disadvantage</a:t>
            </a:r>
            <a:r>
              <a:rPr lang="en-US" dirty="0"/>
              <a:t>: The RTT between each core is high and leads to lower performances for tensor product between </a:t>
            </a:r>
            <a:r>
              <a:rPr lang="en-US" b="1" dirty="0"/>
              <a:t>small matrices.</a:t>
            </a:r>
          </a:p>
          <a:p>
            <a:endParaRPr lang="en-US" dirty="0"/>
          </a:p>
          <a:p>
            <a:r>
              <a:rPr lang="en-US" b="1" dirty="0"/>
              <a:t>Result</a:t>
            </a:r>
            <a:r>
              <a:rPr lang="en-US" dirty="0"/>
              <a:t>: The computations can be parallelized but a good ratio is to be found when the computations involve matrices of heterogeneous siz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4EC319-3C34-757D-5A8B-9B9D3EE865AB}"/>
              </a:ext>
            </a:extLst>
          </p:cNvPr>
          <p:cNvSpPr txBox="1"/>
          <p:nvPr/>
        </p:nvSpPr>
        <p:spPr>
          <a:xfrm>
            <a:off x="8236038" y="5816217"/>
            <a:ext cx="35617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This screenshot by Shannah is licensed under </a:t>
            </a:r>
            <a:r>
              <a:rPr lang="en-US" sz="900" dirty="0">
                <a:hlinkClick r:id="rId3" tooltip="https://creativecommons.org/licenses/by-nd/3.0/"/>
              </a:rPr>
              <a:t>CC BY-ND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5128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47623A-BC7F-357A-E3FA-5A56C395F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C2F24D-CBDD-D480-F239-DCA688C9D2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90B2C4-5393-375C-0974-5585DE6E6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01E33B-BD38-4162-2296-66E9762791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GPU archite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1EB98E-51D3-71D1-5445-E9578C1E18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1811" y="3789722"/>
            <a:ext cx="3410815" cy="225114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BEEF40A-4E52-CEA8-0AA5-8D0738921088}"/>
              </a:ext>
            </a:extLst>
          </p:cNvPr>
          <p:cNvSpPr txBox="1"/>
          <p:nvPr/>
        </p:nvSpPr>
        <p:spPr>
          <a:xfrm>
            <a:off x="638800" y="1666063"/>
            <a:ext cx="6100996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Quantum simulator </a:t>
            </a:r>
            <a:r>
              <a:rPr lang="en-US" b="1" dirty="0"/>
              <a:t>on GPUs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iven the two GPUs of </a:t>
            </a:r>
            <a:r>
              <a:rPr lang="en-US" i="1" dirty="0"/>
              <a:t>ice1, </a:t>
            </a:r>
            <a:r>
              <a:rPr lang="en-US" dirty="0"/>
              <a:t>the computation can be ran on the accelerator dev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ow similar computation to be executed very efficiently into each war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b="1" dirty="0"/>
          </a:p>
          <a:p>
            <a:r>
              <a:rPr lang="en-US" b="1" dirty="0"/>
              <a:t>Disadvantage</a:t>
            </a:r>
            <a:r>
              <a:rPr lang="en-US" dirty="0"/>
              <a:t>: Computation are not using the full GPU as later results depends on earlier ones.</a:t>
            </a:r>
          </a:p>
          <a:p>
            <a:endParaRPr lang="en-US" dirty="0"/>
          </a:p>
          <a:p>
            <a:r>
              <a:rPr lang="en-US" b="1" dirty="0"/>
              <a:t>Result</a:t>
            </a:r>
            <a:r>
              <a:rPr lang="en-US" dirty="0"/>
              <a:t>: RTT between host and device too high for small matrices siz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E82340-BABD-0E51-34D1-8FB8AAC3D298}"/>
              </a:ext>
            </a:extLst>
          </p:cNvPr>
          <p:cNvSpPr txBox="1"/>
          <p:nvPr/>
        </p:nvSpPr>
        <p:spPr>
          <a:xfrm>
            <a:off x="7477365" y="6061790"/>
            <a:ext cx="35617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This screenshot by Shannah is licensed under </a:t>
            </a:r>
            <a:r>
              <a:rPr lang="en-US" sz="900" dirty="0">
                <a:hlinkClick r:id="rId3" tooltip="https://creativecommons.org/licenses/by-nd/3.0/"/>
              </a:rPr>
              <a:t>CC BY-ND</a:t>
            </a:r>
            <a:endParaRPr lang="en-US" sz="900" dirty="0"/>
          </a:p>
        </p:txBody>
      </p:sp>
      <p:pic>
        <p:nvPicPr>
          <p:cNvPr id="13" name="Picture 12" descr="A close-up of a computer chip&#10;&#10;Description automatically generated">
            <a:extLst>
              <a:ext uri="{FF2B5EF4-FFF2-40B4-BE49-F238E27FC236}">
                <a16:creationId xmlns:a16="http://schemas.microsoft.com/office/drawing/2014/main" id="{A57CDB2B-D41F-0E60-75A8-6B8C4B5886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7477365" y="1383682"/>
            <a:ext cx="3590173" cy="202154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64C38D-A08E-E160-5964-79BD93593B86}"/>
              </a:ext>
            </a:extLst>
          </p:cNvPr>
          <p:cNvSpPr txBox="1"/>
          <p:nvPr/>
        </p:nvSpPr>
        <p:spPr>
          <a:xfrm>
            <a:off x="7477365" y="3426153"/>
            <a:ext cx="35901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5" tooltip="https://www.comptoir-hardware.com/actus/cartes-graphiques/41568-nvidia-tesla-a100-le-nouveau-gpu-monstre-a-54-milliards-de-transistors.html"/>
              </a:rPr>
              <a:t>This 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3" tooltip="https://creativecommons.org/licenses/by-nd/3.0/"/>
              </a:rPr>
              <a:t>CC BY-ND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76984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9A5D066-4847-C7BD-B1BD-6C8ADED0ABE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46088" y="1354138"/>
            <a:ext cx="11271250" cy="4989512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# Cheat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s</a:t>
            </a:r>
            <a:endParaRPr lang="de-DE" dirty="0"/>
          </a:p>
          <a:p>
            <a:pPr marL="457200" indent="-457200">
              <a:buAutoNum type="arabicPeriod"/>
            </a:pPr>
            <a:r>
              <a:rPr lang="de-DE" dirty="0" err="1"/>
              <a:t>Speak</a:t>
            </a:r>
            <a:r>
              <a:rPr lang="de-DE" dirty="0"/>
              <a:t> </a:t>
            </a:r>
            <a:r>
              <a:rPr lang="de-DE" dirty="0" err="1"/>
              <a:t>naturally</a:t>
            </a:r>
            <a:r>
              <a:rPr lang="de-DE" dirty="0"/>
              <a:t>, do not </a:t>
            </a:r>
            <a:r>
              <a:rPr lang="de-DE" dirty="0" err="1"/>
              <a:t>recit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off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.</a:t>
            </a:r>
          </a:p>
          <a:p>
            <a:pPr marL="457200" indent="-457200">
              <a:buAutoNum type="arabicPeriod"/>
            </a:pPr>
            <a:r>
              <a:rPr lang="de-DE" dirty="0"/>
              <a:t>Us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mplate</a:t>
            </a:r>
            <a:endParaRPr lang="de-DE" dirty="0"/>
          </a:p>
          <a:p>
            <a:pPr marL="457200" indent="-457200">
              <a:buAutoNum type="arabicPeriod"/>
            </a:pPr>
            <a:r>
              <a:rPr lang="de-DE" dirty="0"/>
              <a:t>Time </a:t>
            </a:r>
            <a:r>
              <a:rPr lang="de-DE" dirty="0" err="1"/>
              <a:t>management</a:t>
            </a:r>
            <a:r>
              <a:rPr lang="de-DE" dirty="0"/>
              <a:t> (</a:t>
            </a:r>
            <a:r>
              <a:rPr lang="de-DE" dirty="0" err="1"/>
              <a:t>Exhaus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me </a:t>
            </a:r>
            <a:r>
              <a:rPr lang="de-DE" dirty="0" err="1"/>
              <a:t>limit</a:t>
            </a:r>
            <a:r>
              <a:rPr lang="de-DE" dirty="0"/>
              <a:t>, but do not </a:t>
            </a:r>
            <a:r>
              <a:rPr lang="de-DE" dirty="0" err="1"/>
              <a:t>exceed</a:t>
            </a:r>
            <a:r>
              <a:rPr lang="de-DE" dirty="0"/>
              <a:t> it.)</a:t>
            </a:r>
          </a:p>
          <a:p>
            <a:pPr marL="457200" indent="-457200">
              <a:buAutoNum type="arabicPeriod"/>
            </a:pPr>
            <a:r>
              <a:rPr lang="de-DE" dirty="0" err="1"/>
              <a:t>Consid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ad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lides</a:t>
            </a:r>
            <a:r>
              <a:rPr lang="de-DE" dirty="0"/>
              <a:t> (e.g. </a:t>
            </a:r>
            <a:r>
              <a:rPr lang="de-DE" dirty="0" err="1"/>
              <a:t>sizes</a:t>
            </a:r>
            <a:r>
              <a:rPr lang="de-DE" dirty="0"/>
              <a:t> and </a:t>
            </a:r>
            <a:r>
              <a:rPr lang="de-DE" dirty="0" err="1"/>
              <a:t>colors</a:t>
            </a:r>
            <a:r>
              <a:rPr lang="de-DE" dirty="0"/>
              <a:t>).</a:t>
            </a:r>
          </a:p>
          <a:p>
            <a:pPr marL="457200" indent="-457200">
              <a:buAutoNum type="arabicPeriod"/>
            </a:pPr>
            <a:r>
              <a:rPr lang="de-DE" dirty="0" err="1"/>
              <a:t>No</a:t>
            </a:r>
            <a:r>
              <a:rPr lang="de-DE" dirty="0"/>
              <a:t> „wal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"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lides</a:t>
            </a:r>
            <a:endParaRPr lang="de-DE" dirty="0"/>
          </a:p>
          <a:p>
            <a:pPr marL="457200" indent="-457200">
              <a:buAutoNum type="arabicPeriod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ntents</a:t>
            </a:r>
            <a:r>
              <a:rPr lang="de-DE" dirty="0"/>
              <a:t> </a:t>
            </a:r>
            <a:r>
              <a:rPr lang="de-DE" dirty="0" err="1"/>
              <a:t>slide</a:t>
            </a:r>
            <a:endParaRPr lang="de-DE" dirty="0"/>
          </a:p>
          <a:p>
            <a:pPr marL="457200" indent="-457200">
              <a:buAutoNum type="arabicPeriod"/>
            </a:pPr>
            <a:r>
              <a:rPr lang="de-DE" dirty="0" err="1"/>
              <a:t>No</a:t>
            </a:r>
            <a:r>
              <a:rPr lang="de-DE" dirty="0"/>
              <a:t> „</a:t>
            </a:r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“ </a:t>
            </a:r>
            <a:r>
              <a:rPr lang="de-DE" dirty="0" err="1"/>
              <a:t>slide</a:t>
            </a:r>
            <a:endParaRPr lang="de-DE" dirty="0"/>
          </a:p>
          <a:p>
            <a:pPr marL="457200" indent="-457200">
              <a:buAutoNum type="arabicPeriod"/>
            </a:pPr>
            <a:r>
              <a:rPr lang="de-DE" dirty="0"/>
              <a:t>Online-</a:t>
            </a:r>
            <a:r>
              <a:rPr lang="de-DE" dirty="0" err="1"/>
              <a:t>Presentations</a:t>
            </a:r>
            <a:r>
              <a:rPr lang="de-DE" dirty="0"/>
              <a:t>: </a:t>
            </a:r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slide</a:t>
            </a:r>
            <a:r>
              <a:rPr lang="de-DE" dirty="0"/>
              <a:t> </a:t>
            </a:r>
            <a:r>
              <a:rPr lang="de-DE" dirty="0" err="1"/>
              <a:t>transition</a:t>
            </a:r>
            <a:r>
              <a:rPr lang="de-DE" dirty="0"/>
              <a:t>-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nimation</a:t>
            </a:r>
            <a:r>
              <a:rPr lang="de-DE" dirty="0"/>
              <a:t> </a:t>
            </a:r>
            <a:r>
              <a:rPr lang="de-DE" dirty="0" err="1"/>
              <a:t>effect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erceiv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stantaneous</a:t>
            </a:r>
            <a:r>
              <a:rPr lang="de-DE" dirty="0"/>
              <a:t>.</a:t>
            </a:r>
          </a:p>
          <a:p>
            <a:pPr marL="457200" indent="-457200">
              <a:buAutoNum type="arabicPeriod"/>
            </a:pPr>
            <a:r>
              <a:rPr lang="en-US" b="1" dirty="0"/>
              <a:t>Do a trial presentation with your supervisor!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D95C74-5CF4-5573-6791-2CF595DEE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ußzeile anpassen: Nachname, Vortragstitel (ggf Kurzfor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DD57F3-20F8-B570-4396-7F9ABDCE9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6</a:t>
            </a:fld>
            <a:endParaRPr lang="en-US"/>
          </a:p>
        </p:txBody>
      </p:sp>
      <p:pic>
        <p:nvPicPr>
          <p:cNvPr id="8" name="Grafik 7" descr="Häkchen mit einfarbiger Füllung">
            <a:extLst>
              <a:ext uri="{FF2B5EF4-FFF2-40B4-BE49-F238E27FC236}">
                <a16:creationId xmlns:a16="http://schemas.microsoft.com/office/drawing/2014/main" id="{6BDDBA1E-CEB6-A5AE-0A47-FC8DADC9D2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/>
              </a:ext>
            </a:extLst>
          </a:blip>
          <a:stretch>
            <a:fillRect/>
          </a:stretch>
        </p:blipFill>
        <p:spPr>
          <a:xfrm>
            <a:off x="3498209" y="2334639"/>
            <a:ext cx="281346" cy="281346"/>
          </a:xfrm>
          <a:prstGeom prst="rect">
            <a:avLst/>
          </a:prstGeom>
        </p:spPr>
      </p:pic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F45B9DE9-EA49-F871-229A-400C2510B9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600" cap="all" baseline="0">
                <a:solidFill>
                  <a:srgbClr val="FF0000"/>
                </a:solidFill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de-DE" sz="2000">
                <a:solidFill>
                  <a:schemeClr val="tx1"/>
                </a:solidFill>
              </a:rPr>
              <a:t>Hints</a:t>
            </a: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932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C0FD64-5D22-435B-BA43-E525358CD1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C0FD64-5D22-435B-BA43-E525358CD15C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4AEBA-9D21-654B-9837-316C0897F3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47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BB30828-CA21-1F44-A7B9-4C825452A9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A5C6095-1E3B-0B48-9A62-D8D9ED17255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 51.831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094C8F3-E65D-E442-80F7-9C336BB854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48463" y="5760000"/>
            <a:ext cx="3492000" cy="468000"/>
          </a:xfrm>
        </p:spPr>
        <p:txBody>
          <a:bodyPr/>
          <a:lstStyle/>
          <a:p>
            <a:pPr algn="r"/>
            <a:r>
              <a:rPr lang="en-US" dirty="0"/>
              <a:t>Winter Semester 2021/22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438343-6B4E-6440-83C6-0B24CD6FDA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6799" y="3250801"/>
            <a:ext cx="3528000" cy="1080000"/>
          </a:xfrm>
        </p:spPr>
        <p:txBody>
          <a:bodyPr/>
          <a:lstStyle/>
          <a:p>
            <a:pPr marL="0" lvl="0" indent="0">
              <a:spcAft>
                <a:spcPts val="0"/>
              </a:spcAft>
              <a:buNone/>
            </a:pPr>
            <a:r>
              <a:rPr lang="en-US" altLang="de-DE" dirty="0"/>
              <a:t>Founded in 1472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A6749DA-FE5C-4F4B-BAFE-1C7E0E8B8D3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34400" y="3250800"/>
            <a:ext cx="3528000" cy="2438800"/>
          </a:xfrm>
        </p:spPr>
        <p:txBody>
          <a:bodyPr/>
          <a:lstStyle/>
          <a:p>
            <a:pPr marL="0" lvl="0" indent="0" defTabSz="914400" fontAlgn="base">
              <a:lnSpc>
                <a:spcPct val="100000"/>
              </a:lnSpc>
              <a:spcAft>
                <a:spcPct val="0"/>
              </a:spcAft>
              <a:buClr>
                <a:srgbClr val="009900"/>
              </a:buClr>
              <a:buSzTx/>
              <a:buNone/>
            </a:pPr>
            <a:r>
              <a:rPr lang="en-US" altLang="de-DE" kern="0" dirty="0">
                <a:ea typeface="MS PGothic" pitchFamily="34" charset="-128"/>
                <a:cs typeface="Arial" pitchFamily="34" charset="0"/>
              </a:rPr>
              <a:t>LMU’s 18 faculties offer a comprehensive and diverse spectrum across all areas of knowledge: </a:t>
            </a:r>
          </a:p>
          <a:p>
            <a:pPr marL="0" indent="0">
              <a:buNone/>
            </a:pPr>
            <a:endParaRPr lang="en-US" dirty="0"/>
          </a:p>
          <a:p>
            <a:r>
              <a:rPr lang="de-DE" dirty="0"/>
              <a:t>Law, </a:t>
            </a:r>
            <a:r>
              <a:rPr lang="de-DE" dirty="0" err="1"/>
              <a:t>economics</a:t>
            </a:r>
            <a:r>
              <a:rPr lang="de-DE" dirty="0"/>
              <a:t> and social </a:t>
            </a:r>
            <a:r>
              <a:rPr lang="de-DE" dirty="0" err="1"/>
              <a:t>sciences</a:t>
            </a:r>
            <a:endParaRPr lang="de-DE" dirty="0"/>
          </a:p>
          <a:p>
            <a:r>
              <a:rPr lang="de-DE" dirty="0" err="1"/>
              <a:t>Humaniti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ultural</a:t>
            </a:r>
            <a:r>
              <a:rPr lang="de-DE" dirty="0"/>
              <a:t> </a:t>
            </a:r>
            <a:r>
              <a:rPr lang="de-DE" dirty="0" err="1"/>
              <a:t>studies</a:t>
            </a:r>
            <a:endParaRPr lang="de-DE" dirty="0"/>
          </a:p>
          <a:p>
            <a:r>
              <a:rPr lang="de-DE" dirty="0" err="1"/>
              <a:t>Medicine</a:t>
            </a:r>
            <a:r>
              <a:rPr lang="de-DE" dirty="0"/>
              <a:t> </a:t>
            </a:r>
          </a:p>
          <a:p>
            <a:r>
              <a:rPr lang="de-DE" dirty="0"/>
              <a:t>Natural </a:t>
            </a:r>
            <a:r>
              <a:rPr lang="de-DE" dirty="0" err="1"/>
              <a:t>scienc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4ED5F77-3DC1-5444-AA03-8315F4BD2E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8400" y="3250800"/>
            <a:ext cx="3528000" cy="1080000"/>
          </a:xfrm>
        </p:spPr>
        <p:txBody>
          <a:bodyPr/>
          <a:lstStyle/>
          <a:p>
            <a:pPr marL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altLang="de-DE" sz="1500" dirty="0">
                <a:solidFill>
                  <a:schemeClr val="tx2"/>
                </a:solidFill>
              </a:rPr>
              <a:t>students from 140 countries </a:t>
            </a:r>
          </a:p>
          <a:p>
            <a:pPr marL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endParaRPr lang="en-US" altLang="de-DE" sz="1500" dirty="0">
              <a:solidFill>
                <a:schemeClr val="tx2"/>
              </a:solidFill>
            </a:endParaRPr>
          </a:p>
          <a:p>
            <a:pPr marL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altLang="de-DE" sz="1500" dirty="0">
                <a:solidFill>
                  <a:schemeClr val="tx2"/>
                </a:solidFill>
              </a:rPr>
              <a:t>19% come from abroad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608CA32-0355-7548-B1E7-1590398D6ED7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4696" y="2151474"/>
            <a:ext cx="816297" cy="69491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5F503FF-4BC0-8F4A-AB67-C6D79AF71875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9168" y="2059539"/>
            <a:ext cx="967996" cy="82405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9AF3CAE-5F48-EC47-9231-EB232C23B9BB}"/>
              </a:ext>
            </a:extLst>
          </p:cNvPr>
          <p:cNvPicPr>
            <a:picLocks noChangeAspect="1"/>
          </p:cNvPicPr>
          <p:nvPr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888" y="2178917"/>
            <a:ext cx="1377534" cy="613901"/>
          </a:xfrm>
          <a:prstGeom prst="rect">
            <a:avLst/>
          </a:prstGeom>
        </p:spPr>
      </p:pic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BFCA396-0E1C-A742-A977-4523F1A765D5}"/>
              </a:ext>
            </a:extLst>
          </p:cNvPr>
          <p:cNvSpPr txBox="1">
            <a:spLocks/>
          </p:cNvSpPr>
          <p:nvPr/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 algn="l" defTabSz="815557" rtl="0" eaLnBrk="1" latinLnBrk="0" hangingPunct="1">
              <a:lnSpc>
                <a:spcPct val="88000"/>
              </a:lnSpc>
              <a:spcBef>
                <a:spcPts val="0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1668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9447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7225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5003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42782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560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339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117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Example for 3-column Table</a:t>
            </a:r>
            <a:endParaRPr lang="en-US" sz="2000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2F6FEF1-86E2-E72E-2FC8-244349B50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7</a:t>
            </a:fld>
            <a:endParaRPr lang="en-US"/>
          </a:p>
        </p:txBody>
      </p:sp>
      <p:sp>
        <p:nvSpPr>
          <p:cNvPr id="20" name="Fußzeilenplatzhalter 12">
            <a:extLst>
              <a:ext uri="{FF2B5EF4-FFF2-40B4-BE49-F238E27FC236}">
                <a16:creationId xmlns:a16="http://schemas.microsoft.com/office/drawing/2014/main" id="{FCCCC778-FB9A-9250-00A3-D70B867131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</p:spPr>
        <p:txBody>
          <a:bodyPr/>
          <a:lstStyle/>
          <a:p>
            <a:r>
              <a:rPr lang="de-DE" dirty="0" err="1"/>
              <a:t>Adjust</a:t>
            </a:r>
            <a:r>
              <a:rPr lang="de-DE" dirty="0"/>
              <a:t> </a:t>
            </a:r>
            <a:r>
              <a:rPr lang="de-DE" dirty="0" err="1"/>
              <a:t>footer</a:t>
            </a:r>
            <a:r>
              <a:rPr lang="de-DE" dirty="0"/>
              <a:t>: </a:t>
            </a:r>
            <a:r>
              <a:rPr lang="de-DE" dirty="0" err="1"/>
              <a:t>Surname</a:t>
            </a:r>
            <a:r>
              <a:rPr lang="de-DE" dirty="0"/>
              <a:t>, </a:t>
            </a:r>
            <a:r>
              <a:rPr lang="de-DE" dirty="0" err="1"/>
              <a:t>presentation</a:t>
            </a:r>
            <a:r>
              <a:rPr lang="de-DE" dirty="0"/>
              <a:t> (</a:t>
            </a:r>
            <a:r>
              <a:rPr lang="de-DE" dirty="0" err="1"/>
              <a:t>short</a:t>
            </a:r>
            <a:r>
              <a:rPr lang="de-DE" dirty="0"/>
              <a:t>) title</a:t>
            </a:r>
          </a:p>
        </p:txBody>
      </p:sp>
    </p:spTree>
    <p:extLst>
      <p:ext uri="{BB962C8B-B14F-4D97-AF65-F5344CB8AC3E}">
        <p14:creationId xmlns:p14="http://schemas.microsoft.com/office/powerpoint/2010/main" val="3124009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C1FEC367-1237-D3ED-003B-9370C15FBAE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487863" y="6496050"/>
            <a:ext cx="7704137" cy="2333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5D9F661-BE4D-5E2A-7F59-7280321858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07775" y="6496050"/>
            <a:ext cx="784225" cy="233363"/>
          </a:xfrm>
          <a:prstGeom prst="rect">
            <a:avLst/>
          </a:prstGeom>
        </p:spPr>
        <p:txBody>
          <a:bodyPr/>
          <a:lstStyle/>
          <a:p>
            <a:fld id="{09258910-D559-42C0-9C6D-04A0BF5983C2}" type="slidenum">
              <a:rPr lang="en-US" smtClean="0"/>
              <a:t>8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EBCFA7-7C0A-B73A-3A14-C9C9E34F2A11}"/>
              </a:ext>
            </a:extLst>
          </p:cNvPr>
          <p:cNvSpPr txBox="1"/>
          <p:nvPr/>
        </p:nvSpPr>
        <p:spPr>
          <a:xfrm>
            <a:off x="3603133" y="3282846"/>
            <a:ext cx="434901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You are Welcom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4E4876-73D2-9EF2-4A53-956FE87814D5}"/>
              </a:ext>
            </a:extLst>
          </p:cNvPr>
          <p:cNvSpPr txBox="1"/>
          <p:nvPr/>
        </p:nvSpPr>
        <p:spPr>
          <a:xfrm>
            <a:off x="4487863" y="2574960"/>
            <a:ext cx="257955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strike="sngStrike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9817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stitel">
  <a:themeElements>
    <a:clrScheme name="LMU_PPT">
      <a:dk1>
        <a:srgbClr val="00883A"/>
      </a:dk1>
      <a:lt1>
        <a:sysClr val="window" lastClr="FFFFFF"/>
      </a:lt1>
      <a:dk2>
        <a:srgbClr val="232323"/>
      </a:dk2>
      <a:lt2>
        <a:srgbClr val="626468"/>
      </a:lt2>
      <a:accent1>
        <a:srgbClr val="C0C1C3"/>
      </a:accent1>
      <a:accent2>
        <a:srgbClr val="E6E6E7"/>
      </a:accent2>
      <a:accent3>
        <a:srgbClr val="F5F5F5"/>
      </a:accent3>
      <a:accent4>
        <a:srgbClr val="0F1987"/>
      </a:accent4>
      <a:accent5>
        <a:srgbClr val="009FE3"/>
      </a:accent5>
      <a:accent6>
        <a:srgbClr val="8C4091"/>
      </a:accent6>
      <a:hlink>
        <a:srgbClr val="D71919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äsentationstitel Variante">
  <a:themeElements>
    <a:clrScheme name="LMU_PPT">
      <a:dk1>
        <a:srgbClr val="00883A"/>
      </a:dk1>
      <a:lt1>
        <a:sysClr val="window" lastClr="FFFFFF"/>
      </a:lt1>
      <a:dk2>
        <a:srgbClr val="232323"/>
      </a:dk2>
      <a:lt2>
        <a:srgbClr val="626468"/>
      </a:lt2>
      <a:accent1>
        <a:srgbClr val="C0C1C3"/>
      </a:accent1>
      <a:accent2>
        <a:srgbClr val="E6E6E7"/>
      </a:accent2>
      <a:accent3>
        <a:srgbClr val="F5F5F5"/>
      </a:accent3>
      <a:accent4>
        <a:srgbClr val="0F1987"/>
      </a:accent4>
      <a:accent5>
        <a:srgbClr val="009FE3"/>
      </a:accent5>
      <a:accent6>
        <a:srgbClr val="8C4091"/>
      </a:accent6>
      <a:hlink>
        <a:srgbClr val="D71919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piteltrenner">
  <a:themeElements>
    <a:clrScheme name="LMU">
      <a:dk1>
        <a:srgbClr val="008740"/>
      </a:dk1>
      <a:lt1>
        <a:sysClr val="window" lastClr="FFFFFF"/>
      </a:lt1>
      <a:dk2>
        <a:srgbClr val="000000"/>
      </a:dk2>
      <a:lt2>
        <a:srgbClr val="4A4A4A"/>
      </a:lt2>
      <a:accent1>
        <a:srgbClr val="9D9D9D"/>
      </a:accent1>
      <a:accent2>
        <a:srgbClr val="D0D0D0"/>
      </a:accent2>
      <a:accent3>
        <a:srgbClr val="F4F4F4"/>
      </a:accent3>
      <a:accent4>
        <a:srgbClr val="023E84"/>
      </a:accent4>
      <a:accent5>
        <a:srgbClr val="009FE3"/>
      </a:accent5>
      <a:accent6>
        <a:srgbClr val="8C40A5"/>
      </a:accent6>
      <a:hlink>
        <a:srgbClr val="DC0D15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Kapiteltrenner">
  <a:themeElements>
    <a:clrScheme name="LMU">
      <a:dk1>
        <a:srgbClr val="008740"/>
      </a:dk1>
      <a:lt1>
        <a:sysClr val="window" lastClr="FFFFFF"/>
      </a:lt1>
      <a:dk2>
        <a:srgbClr val="000000"/>
      </a:dk2>
      <a:lt2>
        <a:srgbClr val="4A4A4A"/>
      </a:lt2>
      <a:accent1>
        <a:srgbClr val="9D9D9D"/>
      </a:accent1>
      <a:accent2>
        <a:srgbClr val="D0D0D0"/>
      </a:accent2>
      <a:accent3>
        <a:srgbClr val="F4F4F4"/>
      </a:accent3>
      <a:accent4>
        <a:srgbClr val="023E84"/>
      </a:accent4>
      <a:accent5>
        <a:srgbClr val="009FE3"/>
      </a:accent5>
      <a:accent6>
        <a:srgbClr val="8C40A5"/>
      </a:accent6>
      <a:hlink>
        <a:srgbClr val="DC0D15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Inhalt">
  <a:themeElements>
    <a:clrScheme name="LMU_PPT">
      <a:dk1>
        <a:srgbClr val="00883A"/>
      </a:dk1>
      <a:lt1>
        <a:sysClr val="window" lastClr="FFFFFF"/>
      </a:lt1>
      <a:dk2>
        <a:srgbClr val="232323"/>
      </a:dk2>
      <a:lt2>
        <a:srgbClr val="626468"/>
      </a:lt2>
      <a:accent1>
        <a:srgbClr val="C0C1C3"/>
      </a:accent1>
      <a:accent2>
        <a:srgbClr val="E6E6E7"/>
      </a:accent2>
      <a:accent3>
        <a:srgbClr val="F5F5F5"/>
      </a:accent3>
      <a:accent4>
        <a:srgbClr val="0F1987"/>
      </a:accent4>
      <a:accent5>
        <a:srgbClr val="009FE3"/>
      </a:accent5>
      <a:accent6>
        <a:srgbClr val="8C4091"/>
      </a:accent6>
      <a:hlink>
        <a:srgbClr val="D71919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90000"/>
      <a:lstStyle>
        <a:defPPr marL="0" indent="0" algn="l">
          <a:spcBef>
            <a:spcPts val="1200"/>
          </a:spcBef>
          <a:buSzPct val="80000"/>
          <a:buNone/>
          <a:defRPr sz="15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Rücktitel">
  <a:themeElements>
    <a:clrScheme name="Benutzerdefiniert 1">
      <a:dk1>
        <a:srgbClr val="008740"/>
      </a:dk1>
      <a:lt1>
        <a:srgbClr val="FFFFFF"/>
      </a:lt1>
      <a:dk2>
        <a:srgbClr val="000000"/>
      </a:dk2>
      <a:lt2>
        <a:srgbClr val="4A4A4A"/>
      </a:lt2>
      <a:accent1>
        <a:srgbClr val="9D9D9D"/>
      </a:accent1>
      <a:accent2>
        <a:srgbClr val="D0D0D0"/>
      </a:accent2>
      <a:accent3>
        <a:srgbClr val="F4F4F4"/>
      </a:accent3>
      <a:accent4>
        <a:srgbClr val="023E84"/>
      </a:accent4>
      <a:accent5>
        <a:srgbClr val="009FE3"/>
      </a:accent5>
      <a:accent6>
        <a:srgbClr val="8C40A5"/>
      </a:accent6>
      <a:hlink>
        <a:srgbClr val="DC0D15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f75f480-7803-4ee9-bb54-84d0635fdbe7}" enabled="1" method="Privilege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0</TotalTime>
  <Words>638</Words>
  <Application>Microsoft Macintosh PowerPoint</Application>
  <PresentationFormat>Widescreen</PresentationFormat>
  <Paragraphs>10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MS PGothic</vt:lpstr>
      <vt:lpstr>Arial</vt:lpstr>
      <vt:lpstr>Calibri</vt:lpstr>
      <vt:lpstr>LMU CompatilFact</vt:lpstr>
      <vt:lpstr>Wingdings</vt:lpstr>
      <vt:lpstr>Präsentationstitel</vt:lpstr>
      <vt:lpstr>Präsentationstitel Variante</vt:lpstr>
      <vt:lpstr>Kapiteltrenner</vt:lpstr>
      <vt:lpstr>1_Kapiteltrenner</vt:lpstr>
      <vt:lpstr>Inhalt</vt:lpstr>
      <vt:lpstr>Rücktitel</vt:lpstr>
      <vt:lpstr>think-cell Slide</vt:lpstr>
      <vt:lpstr>Creation and Optimization of a State Vector Quantum Simulato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lorian Doeffinger</dc:creator>
  <cp:lastModifiedBy>Santucci, Shannah (T DAI MI-CORE-DE)</cp:lastModifiedBy>
  <cp:revision>404</cp:revision>
  <cp:lastPrinted>2020-11-01T16:28:52Z</cp:lastPrinted>
  <dcterms:created xsi:type="dcterms:W3CDTF">2020-05-08T07:19:48Z</dcterms:created>
  <dcterms:modified xsi:type="dcterms:W3CDTF">2024-10-01T08:21:39Z</dcterms:modified>
</cp:coreProperties>
</file>